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notesSlides/notesSlide11.xml" ContentType="application/vnd.openxmlformats-officedocument.presentationml.notesSlide+xml"/>
  <Override PartName="/ppt/tags/tag14.xml" ContentType="application/vnd.openxmlformats-officedocument.presentationml.tags+xml"/>
  <Override PartName="/ppt/notesSlides/notesSlide12.xml" ContentType="application/vnd.openxmlformats-officedocument.presentationml.notesSlide+xml"/>
  <Override PartName="/ppt/tags/tag15.xml" ContentType="application/vnd.openxmlformats-officedocument.presentationml.tags+xml"/>
  <Override PartName="/ppt/notesSlides/notesSlide13.xml" ContentType="application/vnd.openxmlformats-officedocument.presentationml.notesSlide+xml"/>
  <Override PartName="/ppt/tags/tag16.xml" ContentType="application/vnd.openxmlformats-officedocument.presentationml.tags+xml"/>
  <Override PartName="/ppt/notesSlides/notesSlide14.xml" ContentType="application/vnd.openxmlformats-officedocument.presentationml.notesSlide+xml"/>
  <Override PartName="/ppt/tags/tag17.xml" ContentType="application/vnd.openxmlformats-officedocument.presentationml.tags+xml"/>
  <Override PartName="/ppt/notesSlides/notesSlide15.xml" ContentType="application/vnd.openxmlformats-officedocument.presentationml.notesSlide+xml"/>
  <Override PartName="/ppt/tags/tag18.xml" ContentType="application/vnd.openxmlformats-officedocument.presentationml.tags+xml"/>
  <Override PartName="/ppt/notesSlides/notesSlide16.xml" ContentType="application/vnd.openxmlformats-officedocument.presentationml.notesSlide+xml"/>
  <Override PartName="/ppt/tags/tag19.xml" ContentType="application/vnd.openxmlformats-officedocument.presentationml.tags+xml"/>
  <Override PartName="/ppt/notesSlides/notesSlide17.xml" ContentType="application/vnd.openxmlformats-officedocument.presentationml.notesSlide+xml"/>
  <Override PartName="/ppt/tags/tag20.xml" ContentType="application/vnd.openxmlformats-officedocument.presentationml.tags+xml"/>
  <Override PartName="/ppt/notesSlides/notesSlide18.xml" ContentType="application/vnd.openxmlformats-officedocument.presentationml.notesSlide+xml"/>
  <Override PartName="/ppt/tags/tag21.xml" ContentType="application/vnd.openxmlformats-officedocument.presentationml.tags+xml"/>
  <Override PartName="/ppt/notesSlides/notesSlide19.xml" ContentType="application/vnd.openxmlformats-officedocument.presentationml.notesSlide+xml"/>
  <Override PartName="/ppt/tags/tag22.xml" ContentType="application/vnd.openxmlformats-officedocument.presentationml.tags+xml"/>
  <Override PartName="/ppt/notesSlides/notesSlide20.xml" ContentType="application/vnd.openxmlformats-officedocument.presentationml.notesSlide+xml"/>
  <Override PartName="/ppt/tags/tag23.xml" ContentType="application/vnd.openxmlformats-officedocument.presentationml.tags+xml"/>
  <Override PartName="/ppt/notesSlides/notesSlide2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3"/>
  </p:notesMasterIdLst>
  <p:sldIdLst>
    <p:sldId id="256" r:id="rId2"/>
    <p:sldId id="258" r:id="rId3"/>
    <p:sldId id="259" r:id="rId4"/>
    <p:sldId id="260" r:id="rId5"/>
    <p:sldId id="274" r:id="rId6"/>
    <p:sldId id="261" r:id="rId7"/>
    <p:sldId id="272" r:id="rId8"/>
    <p:sldId id="275" r:id="rId9"/>
    <p:sldId id="262" r:id="rId10"/>
    <p:sldId id="280" r:id="rId11"/>
    <p:sldId id="271" r:id="rId12"/>
    <p:sldId id="277" r:id="rId13"/>
    <p:sldId id="263" r:id="rId14"/>
    <p:sldId id="266" r:id="rId15"/>
    <p:sldId id="279" r:id="rId16"/>
    <p:sldId id="267" r:id="rId17"/>
    <p:sldId id="283" r:id="rId18"/>
    <p:sldId id="268" r:id="rId19"/>
    <p:sldId id="270" r:id="rId20"/>
    <p:sldId id="286" r:id="rId21"/>
    <p:sldId id="285" r:id="rId22"/>
  </p:sldIdLst>
  <p:sldSz cx="12192000" cy="6858000"/>
  <p:notesSz cx="6858000" cy="9144000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872FD81-E6D8-7D38-7E92-92ABC3BDE953}" name="# TAN WEN XUAN (UC-FT)" initials="#TWX(F" userId="# TAN WEN XUAN (UC-FT)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53" autoAdjust="0"/>
    <p:restoredTop sz="82186" autoAdjust="0"/>
  </p:normalViewPr>
  <p:slideViewPr>
    <p:cSldViewPr snapToGrid="0">
      <p:cViewPr varScale="1">
        <p:scale>
          <a:sx n="55" d="100"/>
          <a:sy n="55" d="100"/>
        </p:scale>
        <p:origin x="1044" y="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4">
  <dgm:title val=""/>
  <dgm:desc val=""/>
  <dgm:catLst>
    <dgm:cat type="accent6" pri="11400"/>
  </dgm:catLst>
  <dgm:styleLbl name="node0">
    <dgm:fillClrLst meth="cycle">
      <a:schemeClr val="accent6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6">
        <a:shade val="50000"/>
      </a:schemeClr>
      <a:schemeClr val="accent6">
        <a:tint val="55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/>
    <dgm:txEffectClrLst/>
  </dgm:styleLbl>
  <dgm:styleLbl name="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6">
        <a:shade val="80000"/>
        <a:alpha val="5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55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6_4">
  <dgm:title val=""/>
  <dgm:desc val=""/>
  <dgm:catLst>
    <dgm:cat type="accent6" pri="11400"/>
  </dgm:catLst>
  <dgm:styleLbl name="node0">
    <dgm:fillClrLst meth="cycle">
      <a:schemeClr val="accent6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6">
        <a:shade val="50000"/>
      </a:schemeClr>
      <a:schemeClr val="accent6">
        <a:tint val="55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/>
    <dgm:txEffectClrLst/>
  </dgm:styleLbl>
  <dgm:styleLbl name="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6">
        <a:shade val="80000"/>
        <a:alpha val="5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55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A94B52E-AE07-4A0E-B8E9-35C9CA3E4272}" type="doc">
      <dgm:prSet loTypeId="urn:microsoft.com/office/officeart/2005/8/layout/chevron1" loCatId="process" qsTypeId="urn:microsoft.com/office/officeart/2005/8/quickstyle/simple3" qsCatId="simple" csTypeId="urn:microsoft.com/office/officeart/2005/8/colors/accent6_4" csCatId="accent6" phldr="1"/>
      <dgm:spPr/>
    </dgm:pt>
    <dgm:pt modelId="{F062C8F6-F7E6-4916-8563-38A9F1D5D9EA}">
      <dgm:prSet phldrT="[Text]"/>
      <dgm:spPr/>
      <dgm:t>
        <a:bodyPr/>
        <a:lstStyle/>
        <a:p>
          <a:r>
            <a:rPr lang="en-US" dirty="0"/>
            <a:t>Merge Separate File(s)</a:t>
          </a:r>
          <a:endParaRPr lang="en-SG" dirty="0"/>
        </a:p>
      </dgm:t>
    </dgm:pt>
    <dgm:pt modelId="{6BC0FACF-FCDE-44F2-B580-CEF7CD58A6EB}" type="parTrans" cxnId="{8B8608D0-38B1-4FDF-81A9-CA17DF66ECB9}">
      <dgm:prSet/>
      <dgm:spPr/>
      <dgm:t>
        <a:bodyPr/>
        <a:lstStyle/>
        <a:p>
          <a:endParaRPr lang="en-SG"/>
        </a:p>
      </dgm:t>
    </dgm:pt>
    <dgm:pt modelId="{635FA3E9-E931-4AAB-BD62-1B8735B303B5}" type="sibTrans" cxnId="{8B8608D0-38B1-4FDF-81A9-CA17DF66ECB9}">
      <dgm:prSet/>
      <dgm:spPr/>
      <dgm:t>
        <a:bodyPr/>
        <a:lstStyle/>
        <a:p>
          <a:endParaRPr lang="en-SG"/>
        </a:p>
      </dgm:t>
    </dgm:pt>
    <dgm:pt modelId="{B5F36E83-5A0F-46B2-A961-4FEB9F1073F9}">
      <dgm:prSet phldrT="[Text]"/>
      <dgm:spPr/>
      <dgm:t>
        <a:bodyPr/>
        <a:lstStyle/>
        <a:p>
          <a:r>
            <a:rPr lang="en-US" dirty="0"/>
            <a:t>Select Columns  based on knowledge and null values</a:t>
          </a:r>
          <a:endParaRPr lang="en-SG" dirty="0"/>
        </a:p>
      </dgm:t>
    </dgm:pt>
    <dgm:pt modelId="{4514AC86-5389-41A0-A97D-A67D9453047D}" type="parTrans" cxnId="{4EB455A3-868E-449F-B2B9-C1A43AB3D77E}">
      <dgm:prSet/>
      <dgm:spPr/>
      <dgm:t>
        <a:bodyPr/>
        <a:lstStyle/>
        <a:p>
          <a:endParaRPr lang="en-SG"/>
        </a:p>
      </dgm:t>
    </dgm:pt>
    <dgm:pt modelId="{5279B169-6D04-4CC4-B0ED-309F14FA5A6F}" type="sibTrans" cxnId="{4EB455A3-868E-449F-B2B9-C1A43AB3D77E}">
      <dgm:prSet/>
      <dgm:spPr/>
      <dgm:t>
        <a:bodyPr/>
        <a:lstStyle/>
        <a:p>
          <a:endParaRPr lang="en-SG"/>
        </a:p>
      </dgm:t>
    </dgm:pt>
    <dgm:pt modelId="{70108020-24FB-4AD5-B3AF-BB5DE60C655E}">
      <dgm:prSet phldrT="[Text]"/>
      <dgm:spPr/>
      <dgm:t>
        <a:bodyPr/>
        <a:lstStyle/>
        <a:p>
          <a:r>
            <a:rPr lang="en-US" dirty="0"/>
            <a:t>Remove problematic data </a:t>
          </a:r>
          <a:r>
            <a:rPr lang="en-US" dirty="0" err="1"/>
            <a:t>etc</a:t>
          </a:r>
          <a:r>
            <a:rPr lang="en-US" dirty="0"/>
            <a:t> null/random strings</a:t>
          </a:r>
          <a:endParaRPr lang="en-SG" dirty="0"/>
        </a:p>
      </dgm:t>
    </dgm:pt>
    <dgm:pt modelId="{CDA0BFFE-4323-4F23-A99D-A2CE3D0842BB}" type="parTrans" cxnId="{41577A58-3D23-453B-8E06-B301D6A2FFF6}">
      <dgm:prSet/>
      <dgm:spPr/>
      <dgm:t>
        <a:bodyPr/>
        <a:lstStyle/>
        <a:p>
          <a:endParaRPr lang="en-SG"/>
        </a:p>
      </dgm:t>
    </dgm:pt>
    <dgm:pt modelId="{7729994E-9F1F-45BC-A856-8AD4B77AD9BF}" type="sibTrans" cxnId="{41577A58-3D23-453B-8E06-B301D6A2FFF6}">
      <dgm:prSet/>
      <dgm:spPr/>
      <dgm:t>
        <a:bodyPr/>
        <a:lstStyle/>
        <a:p>
          <a:endParaRPr lang="en-SG"/>
        </a:p>
      </dgm:t>
    </dgm:pt>
    <dgm:pt modelId="{3BCE92BB-3641-4796-A112-91E403B085D0}">
      <dgm:prSet phldrT="[Text]"/>
      <dgm:spPr/>
      <dgm:t>
        <a:bodyPr/>
        <a:lstStyle/>
        <a:p>
          <a:r>
            <a:rPr lang="en-US" dirty="0"/>
            <a:t>Fill missing values whenever possible</a:t>
          </a:r>
          <a:endParaRPr lang="en-SG" dirty="0"/>
        </a:p>
      </dgm:t>
    </dgm:pt>
    <dgm:pt modelId="{A36D8C26-54B9-4A3A-9A16-058290557F10}" type="parTrans" cxnId="{38893ACA-DA69-4272-8BA9-D5C5600FF01B}">
      <dgm:prSet/>
      <dgm:spPr/>
      <dgm:t>
        <a:bodyPr/>
        <a:lstStyle/>
        <a:p>
          <a:endParaRPr lang="en-SG"/>
        </a:p>
      </dgm:t>
    </dgm:pt>
    <dgm:pt modelId="{CA2E20C6-6433-44E0-B91F-9F9DF8E2A1D1}" type="sibTrans" cxnId="{38893ACA-DA69-4272-8BA9-D5C5600FF01B}">
      <dgm:prSet/>
      <dgm:spPr/>
      <dgm:t>
        <a:bodyPr/>
        <a:lstStyle/>
        <a:p>
          <a:endParaRPr lang="en-SG"/>
        </a:p>
      </dgm:t>
    </dgm:pt>
    <dgm:pt modelId="{CEBC66B3-9C12-4B52-AE98-53E67B79496D}">
      <dgm:prSet phldrT="[Text]"/>
      <dgm:spPr/>
      <dgm:t>
        <a:bodyPr/>
        <a:lstStyle/>
        <a:p>
          <a:r>
            <a:rPr lang="en-US" dirty="0"/>
            <a:t>Remove outliers</a:t>
          </a:r>
          <a:endParaRPr lang="en-SG" dirty="0"/>
        </a:p>
      </dgm:t>
    </dgm:pt>
    <dgm:pt modelId="{419B57F5-A66A-4374-91A6-BD16A01B9C9A}" type="parTrans" cxnId="{3C9E3F8E-F2DD-4A94-A517-D15EBDC8293D}">
      <dgm:prSet/>
      <dgm:spPr/>
      <dgm:t>
        <a:bodyPr/>
        <a:lstStyle/>
        <a:p>
          <a:endParaRPr lang="en-SG"/>
        </a:p>
      </dgm:t>
    </dgm:pt>
    <dgm:pt modelId="{7D636205-BD2A-460B-8E01-E175E60BEC53}" type="sibTrans" cxnId="{3C9E3F8E-F2DD-4A94-A517-D15EBDC8293D}">
      <dgm:prSet/>
      <dgm:spPr/>
      <dgm:t>
        <a:bodyPr/>
        <a:lstStyle/>
        <a:p>
          <a:endParaRPr lang="en-SG"/>
        </a:p>
      </dgm:t>
    </dgm:pt>
    <dgm:pt modelId="{945661D1-9D45-4516-A1D2-2F23B9E72EA0}">
      <dgm:prSet phldrT="[Text]"/>
      <dgm:spPr/>
      <dgm:t>
        <a:bodyPr/>
        <a:lstStyle/>
        <a:p>
          <a:r>
            <a:rPr lang="en-US" dirty="0"/>
            <a:t>Derive columns needed for traditional method</a:t>
          </a:r>
          <a:endParaRPr lang="en-SG" dirty="0"/>
        </a:p>
      </dgm:t>
    </dgm:pt>
    <dgm:pt modelId="{1C850B41-E3C8-4B14-99AC-4BD6D658CB96}" type="parTrans" cxnId="{E9EBA37B-9417-4B69-919C-9ED84D9282F7}">
      <dgm:prSet/>
      <dgm:spPr/>
      <dgm:t>
        <a:bodyPr/>
        <a:lstStyle/>
        <a:p>
          <a:endParaRPr lang="en-SG"/>
        </a:p>
      </dgm:t>
    </dgm:pt>
    <dgm:pt modelId="{2062F174-3B2F-4C91-8F66-1CD069373419}" type="sibTrans" cxnId="{E9EBA37B-9417-4B69-919C-9ED84D9282F7}">
      <dgm:prSet/>
      <dgm:spPr/>
      <dgm:t>
        <a:bodyPr/>
        <a:lstStyle/>
        <a:p>
          <a:endParaRPr lang="en-SG"/>
        </a:p>
      </dgm:t>
    </dgm:pt>
    <dgm:pt modelId="{08A1CDD2-4744-494D-AD0F-F6E46B8705DC}">
      <dgm:prSet phldrT="[Text]"/>
      <dgm:spPr/>
      <dgm:t>
        <a:bodyPr/>
        <a:lstStyle/>
        <a:p>
          <a:r>
            <a:rPr lang="en-US" dirty="0"/>
            <a:t>Min Max </a:t>
          </a:r>
          <a:r>
            <a:rPr lang="en-US" dirty="0" err="1"/>
            <a:t>Normalise</a:t>
          </a:r>
          <a:endParaRPr lang="en-SG" dirty="0"/>
        </a:p>
      </dgm:t>
    </dgm:pt>
    <dgm:pt modelId="{2F2B9738-AF53-4AC0-82AC-28D5870BC4CF}" type="parTrans" cxnId="{57802073-A551-4E0D-8DE8-EF082084EB85}">
      <dgm:prSet/>
      <dgm:spPr/>
      <dgm:t>
        <a:bodyPr/>
        <a:lstStyle/>
        <a:p>
          <a:endParaRPr lang="en-SG"/>
        </a:p>
      </dgm:t>
    </dgm:pt>
    <dgm:pt modelId="{4ECE9045-8DA9-495C-896F-8C7026139A3A}" type="sibTrans" cxnId="{57802073-A551-4E0D-8DE8-EF082084EB85}">
      <dgm:prSet/>
      <dgm:spPr/>
      <dgm:t>
        <a:bodyPr/>
        <a:lstStyle/>
        <a:p>
          <a:endParaRPr lang="en-SG"/>
        </a:p>
      </dgm:t>
    </dgm:pt>
    <dgm:pt modelId="{4C6F8CD7-6299-4FA1-A515-A053F120C2AD}">
      <dgm:prSet phldrT="[Text]"/>
      <dgm:spPr/>
      <dgm:t>
        <a:bodyPr/>
        <a:lstStyle/>
        <a:p>
          <a:r>
            <a:rPr lang="en-US" dirty="0"/>
            <a:t>Adjust </a:t>
          </a:r>
          <a:r>
            <a:rPr lang="en-US" dirty="0" err="1"/>
            <a:t>Dtypes</a:t>
          </a:r>
          <a:endParaRPr lang="en-SG" dirty="0"/>
        </a:p>
      </dgm:t>
    </dgm:pt>
    <dgm:pt modelId="{5780121C-D6EB-454C-8A59-14E2DBC3654A}" type="parTrans" cxnId="{E0E47B30-9B63-46C8-B305-AD1FCECA9F16}">
      <dgm:prSet/>
      <dgm:spPr/>
      <dgm:t>
        <a:bodyPr/>
        <a:lstStyle/>
        <a:p>
          <a:endParaRPr lang="en-SG"/>
        </a:p>
      </dgm:t>
    </dgm:pt>
    <dgm:pt modelId="{402D879D-A441-4F74-A8C7-54757BE89836}" type="sibTrans" cxnId="{E0E47B30-9B63-46C8-B305-AD1FCECA9F16}">
      <dgm:prSet/>
      <dgm:spPr/>
      <dgm:t>
        <a:bodyPr/>
        <a:lstStyle/>
        <a:p>
          <a:endParaRPr lang="en-SG"/>
        </a:p>
      </dgm:t>
    </dgm:pt>
    <dgm:pt modelId="{C42F046B-28EB-4530-A9A5-A0135663E138}" type="pres">
      <dgm:prSet presAssocID="{FA94B52E-AE07-4A0E-B8E9-35C9CA3E4272}" presName="Name0" presStyleCnt="0">
        <dgm:presLayoutVars>
          <dgm:dir/>
          <dgm:animLvl val="lvl"/>
          <dgm:resizeHandles val="exact"/>
        </dgm:presLayoutVars>
      </dgm:prSet>
      <dgm:spPr/>
    </dgm:pt>
    <dgm:pt modelId="{EBC909A1-4AFF-42B1-B8D3-598A85011561}" type="pres">
      <dgm:prSet presAssocID="{F062C8F6-F7E6-4916-8563-38A9F1D5D9EA}" presName="parTxOnly" presStyleLbl="node1" presStyleIdx="0" presStyleCnt="8">
        <dgm:presLayoutVars>
          <dgm:chMax val="0"/>
          <dgm:chPref val="0"/>
          <dgm:bulletEnabled val="1"/>
        </dgm:presLayoutVars>
      </dgm:prSet>
      <dgm:spPr/>
    </dgm:pt>
    <dgm:pt modelId="{E1CB02D4-BFA4-4B8E-A1A2-DA342A3A6DF7}" type="pres">
      <dgm:prSet presAssocID="{635FA3E9-E931-4AAB-BD62-1B8735B303B5}" presName="parTxOnlySpace" presStyleCnt="0"/>
      <dgm:spPr/>
    </dgm:pt>
    <dgm:pt modelId="{BFF8961E-5CDE-4F0F-B976-8FAB19979FAF}" type="pres">
      <dgm:prSet presAssocID="{B5F36E83-5A0F-46B2-A961-4FEB9F1073F9}" presName="parTxOnly" presStyleLbl="node1" presStyleIdx="1" presStyleCnt="8">
        <dgm:presLayoutVars>
          <dgm:chMax val="0"/>
          <dgm:chPref val="0"/>
          <dgm:bulletEnabled val="1"/>
        </dgm:presLayoutVars>
      </dgm:prSet>
      <dgm:spPr/>
    </dgm:pt>
    <dgm:pt modelId="{0EE19A76-74A5-461C-AE75-AD4B1DC8D6BE}" type="pres">
      <dgm:prSet presAssocID="{5279B169-6D04-4CC4-B0ED-309F14FA5A6F}" presName="parTxOnlySpace" presStyleCnt="0"/>
      <dgm:spPr/>
    </dgm:pt>
    <dgm:pt modelId="{84F8374E-2AA3-4599-AC22-6DF6E2C7D014}" type="pres">
      <dgm:prSet presAssocID="{70108020-24FB-4AD5-B3AF-BB5DE60C655E}" presName="parTxOnly" presStyleLbl="node1" presStyleIdx="2" presStyleCnt="8">
        <dgm:presLayoutVars>
          <dgm:chMax val="0"/>
          <dgm:chPref val="0"/>
          <dgm:bulletEnabled val="1"/>
        </dgm:presLayoutVars>
      </dgm:prSet>
      <dgm:spPr/>
    </dgm:pt>
    <dgm:pt modelId="{59966E5B-1538-45EE-A42F-71373EE32660}" type="pres">
      <dgm:prSet presAssocID="{7729994E-9F1F-45BC-A856-8AD4B77AD9BF}" presName="parTxOnlySpace" presStyleCnt="0"/>
      <dgm:spPr/>
    </dgm:pt>
    <dgm:pt modelId="{C572DB21-24D5-42DF-B57E-E817DB8CACE3}" type="pres">
      <dgm:prSet presAssocID="{3BCE92BB-3641-4796-A112-91E403B085D0}" presName="parTxOnly" presStyleLbl="node1" presStyleIdx="3" presStyleCnt="8">
        <dgm:presLayoutVars>
          <dgm:chMax val="0"/>
          <dgm:chPref val="0"/>
          <dgm:bulletEnabled val="1"/>
        </dgm:presLayoutVars>
      </dgm:prSet>
      <dgm:spPr/>
    </dgm:pt>
    <dgm:pt modelId="{89A403DB-A7F5-4D7A-B941-8F1A0A7AF6CA}" type="pres">
      <dgm:prSet presAssocID="{CA2E20C6-6433-44E0-B91F-9F9DF8E2A1D1}" presName="parTxOnlySpace" presStyleCnt="0"/>
      <dgm:spPr/>
    </dgm:pt>
    <dgm:pt modelId="{6C6C8A13-E760-4538-A071-32E0236FA4E2}" type="pres">
      <dgm:prSet presAssocID="{4C6F8CD7-6299-4FA1-A515-A053F120C2AD}" presName="parTxOnly" presStyleLbl="node1" presStyleIdx="4" presStyleCnt="8">
        <dgm:presLayoutVars>
          <dgm:chMax val="0"/>
          <dgm:chPref val="0"/>
          <dgm:bulletEnabled val="1"/>
        </dgm:presLayoutVars>
      </dgm:prSet>
      <dgm:spPr/>
    </dgm:pt>
    <dgm:pt modelId="{BEE732EF-D2FE-4D93-94B5-26AA832E2092}" type="pres">
      <dgm:prSet presAssocID="{402D879D-A441-4F74-A8C7-54757BE89836}" presName="parTxOnlySpace" presStyleCnt="0"/>
      <dgm:spPr/>
    </dgm:pt>
    <dgm:pt modelId="{A5B17C80-33B2-460D-A1E0-C9505903FCE5}" type="pres">
      <dgm:prSet presAssocID="{CEBC66B3-9C12-4B52-AE98-53E67B79496D}" presName="parTxOnly" presStyleLbl="node1" presStyleIdx="5" presStyleCnt="8" custLinFactNeighborX="24072" custLinFactNeighborY="-670">
        <dgm:presLayoutVars>
          <dgm:chMax val="0"/>
          <dgm:chPref val="0"/>
          <dgm:bulletEnabled val="1"/>
        </dgm:presLayoutVars>
      </dgm:prSet>
      <dgm:spPr/>
    </dgm:pt>
    <dgm:pt modelId="{3355DCC6-3921-4676-ACD4-A5FCB52AC52D}" type="pres">
      <dgm:prSet presAssocID="{7D636205-BD2A-460B-8E01-E175E60BEC53}" presName="parTxOnlySpace" presStyleCnt="0"/>
      <dgm:spPr/>
    </dgm:pt>
    <dgm:pt modelId="{39250F76-2192-4983-8687-3A22A0264805}" type="pres">
      <dgm:prSet presAssocID="{945661D1-9D45-4516-A1D2-2F23B9E72EA0}" presName="parTxOnly" presStyleLbl="node1" presStyleIdx="6" presStyleCnt="8" custLinFactNeighborX="24072" custLinFactNeighborY="-670">
        <dgm:presLayoutVars>
          <dgm:chMax val="0"/>
          <dgm:chPref val="0"/>
          <dgm:bulletEnabled val="1"/>
        </dgm:presLayoutVars>
      </dgm:prSet>
      <dgm:spPr/>
    </dgm:pt>
    <dgm:pt modelId="{E84C51A2-031C-40BE-9308-036F4BE11FD2}" type="pres">
      <dgm:prSet presAssocID="{2062F174-3B2F-4C91-8F66-1CD069373419}" presName="parTxOnlySpace" presStyleCnt="0"/>
      <dgm:spPr/>
    </dgm:pt>
    <dgm:pt modelId="{469E39DA-16FE-4EAA-AA6C-5ACE4ADEB951}" type="pres">
      <dgm:prSet presAssocID="{08A1CDD2-4744-494D-AD0F-F6E46B8705DC}" presName="parTxOnly" presStyleLbl="node1" presStyleIdx="7" presStyleCnt="8" custLinFactNeighborX="24072" custLinFactNeighborY="-670">
        <dgm:presLayoutVars>
          <dgm:chMax val="0"/>
          <dgm:chPref val="0"/>
          <dgm:bulletEnabled val="1"/>
        </dgm:presLayoutVars>
      </dgm:prSet>
      <dgm:spPr/>
    </dgm:pt>
  </dgm:ptLst>
  <dgm:cxnLst>
    <dgm:cxn modelId="{19EB7705-2A19-41D3-B0AF-FF6BA860212F}" type="presOf" srcId="{FA94B52E-AE07-4A0E-B8E9-35C9CA3E4272}" destId="{C42F046B-28EB-4530-A9A5-A0135663E138}" srcOrd="0" destOrd="0" presId="urn:microsoft.com/office/officeart/2005/8/layout/chevron1"/>
    <dgm:cxn modelId="{0FD4A610-78FE-492C-B1E7-BF13E72D8134}" type="presOf" srcId="{CEBC66B3-9C12-4B52-AE98-53E67B79496D}" destId="{A5B17C80-33B2-460D-A1E0-C9505903FCE5}" srcOrd="0" destOrd="0" presId="urn:microsoft.com/office/officeart/2005/8/layout/chevron1"/>
    <dgm:cxn modelId="{94A9C519-D95A-4B91-BD2A-F63573634CCD}" type="presOf" srcId="{3BCE92BB-3641-4796-A112-91E403B085D0}" destId="{C572DB21-24D5-42DF-B57E-E817DB8CACE3}" srcOrd="0" destOrd="0" presId="urn:microsoft.com/office/officeart/2005/8/layout/chevron1"/>
    <dgm:cxn modelId="{AD02DE1D-48DF-4763-8AA2-FAEEABDD68A8}" type="presOf" srcId="{945661D1-9D45-4516-A1D2-2F23B9E72EA0}" destId="{39250F76-2192-4983-8687-3A22A0264805}" srcOrd="0" destOrd="0" presId="urn:microsoft.com/office/officeart/2005/8/layout/chevron1"/>
    <dgm:cxn modelId="{E0E47B30-9B63-46C8-B305-AD1FCECA9F16}" srcId="{FA94B52E-AE07-4A0E-B8E9-35C9CA3E4272}" destId="{4C6F8CD7-6299-4FA1-A515-A053F120C2AD}" srcOrd="4" destOrd="0" parTransId="{5780121C-D6EB-454C-8A59-14E2DBC3654A}" sibTransId="{402D879D-A441-4F74-A8C7-54757BE89836}"/>
    <dgm:cxn modelId="{E0579744-E1FE-4231-A1F6-5CF201A6EF3C}" type="presOf" srcId="{70108020-24FB-4AD5-B3AF-BB5DE60C655E}" destId="{84F8374E-2AA3-4599-AC22-6DF6E2C7D014}" srcOrd="0" destOrd="0" presId="urn:microsoft.com/office/officeart/2005/8/layout/chevron1"/>
    <dgm:cxn modelId="{7A84696E-EBDD-4A4D-A6DB-4252ED2824FF}" type="presOf" srcId="{08A1CDD2-4744-494D-AD0F-F6E46B8705DC}" destId="{469E39DA-16FE-4EAA-AA6C-5ACE4ADEB951}" srcOrd="0" destOrd="0" presId="urn:microsoft.com/office/officeart/2005/8/layout/chevron1"/>
    <dgm:cxn modelId="{57802073-A551-4E0D-8DE8-EF082084EB85}" srcId="{FA94B52E-AE07-4A0E-B8E9-35C9CA3E4272}" destId="{08A1CDD2-4744-494D-AD0F-F6E46B8705DC}" srcOrd="7" destOrd="0" parTransId="{2F2B9738-AF53-4AC0-82AC-28D5870BC4CF}" sibTransId="{4ECE9045-8DA9-495C-896F-8C7026139A3A}"/>
    <dgm:cxn modelId="{41577A58-3D23-453B-8E06-B301D6A2FFF6}" srcId="{FA94B52E-AE07-4A0E-B8E9-35C9CA3E4272}" destId="{70108020-24FB-4AD5-B3AF-BB5DE60C655E}" srcOrd="2" destOrd="0" parTransId="{CDA0BFFE-4323-4F23-A99D-A2CE3D0842BB}" sibTransId="{7729994E-9F1F-45BC-A856-8AD4B77AD9BF}"/>
    <dgm:cxn modelId="{E9EBA37B-9417-4B69-919C-9ED84D9282F7}" srcId="{FA94B52E-AE07-4A0E-B8E9-35C9CA3E4272}" destId="{945661D1-9D45-4516-A1D2-2F23B9E72EA0}" srcOrd="6" destOrd="0" parTransId="{1C850B41-E3C8-4B14-99AC-4BD6D658CB96}" sibTransId="{2062F174-3B2F-4C91-8F66-1CD069373419}"/>
    <dgm:cxn modelId="{3C9E3F8E-F2DD-4A94-A517-D15EBDC8293D}" srcId="{FA94B52E-AE07-4A0E-B8E9-35C9CA3E4272}" destId="{CEBC66B3-9C12-4B52-AE98-53E67B79496D}" srcOrd="5" destOrd="0" parTransId="{419B57F5-A66A-4374-91A6-BD16A01B9C9A}" sibTransId="{7D636205-BD2A-460B-8E01-E175E60BEC53}"/>
    <dgm:cxn modelId="{4EB455A3-868E-449F-B2B9-C1A43AB3D77E}" srcId="{FA94B52E-AE07-4A0E-B8E9-35C9CA3E4272}" destId="{B5F36E83-5A0F-46B2-A961-4FEB9F1073F9}" srcOrd="1" destOrd="0" parTransId="{4514AC86-5389-41A0-A97D-A67D9453047D}" sibTransId="{5279B169-6D04-4CC4-B0ED-309F14FA5A6F}"/>
    <dgm:cxn modelId="{6CE42BC1-1BC7-4AEC-B729-10320A965B7C}" type="presOf" srcId="{F062C8F6-F7E6-4916-8563-38A9F1D5D9EA}" destId="{EBC909A1-4AFF-42B1-B8D3-598A85011561}" srcOrd="0" destOrd="0" presId="urn:microsoft.com/office/officeart/2005/8/layout/chevron1"/>
    <dgm:cxn modelId="{38893ACA-DA69-4272-8BA9-D5C5600FF01B}" srcId="{FA94B52E-AE07-4A0E-B8E9-35C9CA3E4272}" destId="{3BCE92BB-3641-4796-A112-91E403B085D0}" srcOrd="3" destOrd="0" parTransId="{A36D8C26-54B9-4A3A-9A16-058290557F10}" sibTransId="{CA2E20C6-6433-44E0-B91F-9F9DF8E2A1D1}"/>
    <dgm:cxn modelId="{8B8608D0-38B1-4FDF-81A9-CA17DF66ECB9}" srcId="{FA94B52E-AE07-4A0E-B8E9-35C9CA3E4272}" destId="{F062C8F6-F7E6-4916-8563-38A9F1D5D9EA}" srcOrd="0" destOrd="0" parTransId="{6BC0FACF-FCDE-44F2-B580-CEF7CD58A6EB}" sibTransId="{635FA3E9-E931-4AAB-BD62-1B8735B303B5}"/>
    <dgm:cxn modelId="{1C7088DB-E1DA-484B-A2F3-F75A8712D046}" type="presOf" srcId="{4C6F8CD7-6299-4FA1-A515-A053F120C2AD}" destId="{6C6C8A13-E760-4538-A071-32E0236FA4E2}" srcOrd="0" destOrd="0" presId="urn:microsoft.com/office/officeart/2005/8/layout/chevron1"/>
    <dgm:cxn modelId="{32644DF6-D41B-4C6D-B26E-7A254C92781F}" type="presOf" srcId="{B5F36E83-5A0F-46B2-A961-4FEB9F1073F9}" destId="{BFF8961E-5CDE-4F0F-B976-8FAB19979FAF}" srcOrd="0" destOrd="0" presId="urn:microsoft.com/office/officeart/2005/8/layout/chevron1"/>
    <dgm:cxn modelId="{83711F17-DADE-42F8-BBF0-D9DA3300BCFA}" type="presParOf" srcId="{C42F046B-28EB-4530-A9A5-A0135663E138}" destId="{EBC909A1-4AFF-42B1-B8D3-598A85011561}" srcOrd="0" destOrd="0" presId="urn:microsoft.com/office/officeart/2005/8/layout/chevron1"/>
    <dgm:cxn modelId="{06F764B5-00D5-4D1E-AD1A-9C039040A1F5}" type="presParOf" srcId="{C42F046B-28EB-4530-A9A5-A0135663E138}" destId="{E1CB02D4-BFA4-4B8E-A1A2-DA342A3A6DF7}" srcOrd="1" destOrd="0" presId="urn:microsoft.com/office/officeart/2005/8/layout/chevron1"/>
    <dgm:cxn modelId="{7D2781E3-0316-4DD7-BE7E-58023A77A86C}" type="presParOf" srcId="{C42F046B-28EB-4530-A9A5-A0135663E138}" destId="{BFF8961E-5CDE-4F0F-B976-8FAB19979FAF}" srcOrd="2" destOrd="0" presId="urn:microsoft.com/office/officeart/2005/8/layout/chevron1"/>
    <dgm:cxn modelId="{86A2876E-A10F-470E-A68A-035505031773}" type="presParOf" srcId="{C42F046B-28EB-4530-A9A5-A0135663E138}" destId="{0EE19A76-74A5-461C-AE75-AD4B1DC8D6BE}" srcOrd="3" destOrd="0" presId="urn:microsoft.com/office/officeart/2005/8/layout/chevron1"/>
    <dgm:cxn modelId="{B51A5CAB-50F9-4898-9952-3C3746CF3AD9}" type="presParOf" srcId="{C42F046B-28EB-4530-A9A5-A0135663E138}" destId="{84F8374E-2AA3-4599-AC22-6DF6E2C7D014}" srcOrd="4" destOrd="0" presId="urn:microsoft.com/office/officeart/2005/8/layout/chevron1"/>
    <dgm:cxn modelId="{F3EF1B2C-3B37-4E40-ABB7-7AFF7E21DF75}" type="presParOf" srcId="{C42F046B-28EB-4530-A9A5-A0135663E138}" destId="{59966E5B-1538-45EE-A42F-71373EE32660}" srcOrd="5" destOrd="0" presId="urn:microsoft.com/office/officeart/2005/8/layout/chevron1"/>
    <dgm:cxn modelId="{1578867D-B141-465B-A3E2-C2D55C0E852E}" type="presParOf" srcId="{C42F046B-28EB-4530-A9A5-A0135663E138}" destId="{C572DB21-24D5-42DF-B57E-E817DB8CACE3}" srcOrd="6" destOrd="0" presId="urn:microsoft.com/office/officeart/2005/8/layout/chevron1"/>
    <dgm:cxn modelId="{3484EA46-DB2F-43BA-ADEB-01AAAB1B11B4}" type="presParOf" srcId="{C42F046B-28EB-4530-A9A5-A0135663E138}" destId="{89A403DB-A7F5-4D7A-B941-8F1A0A7AF6CA}" srcOrd="7" destOrd="0" presId="urn:microsoft.com/office/officeart/2005/8/layout/chevron1"/>
    <dgm:cxn modelId="{BB918732-72B8-49DF-BBD6-DFE21E6999B6}" type="presParOf" srcId="{C42F046B-28EB-4530-A9A5-A0135663E138}" destId="{6C6C8A13-E760-4538-A071-32E0236FA4E2}" srcOrd="8" destOrd="0" presId="urn:microsoft.com/office/officeart/2005/8/layout/chevron1"/>
    <dgm:cxn modelId="{EB745F47-E554-4B88-8538-051F41620978}" type="presParOf" srcId="{C42F046B-28EB-4530-A9A5-A0135663E138}" destId="{BEE732EF-D2FE-4D93-94B5-26AA832E2092}" srcOrd="9" destOrd="0" presId="urn:microsoft.com/office/officeart/2005/8/layout/chevron1"/>
    <dgm:cxn modelId="{0495BCAA-80C1-4CFA-8D89-941DA8CDC6D9}" type="presParOf" srcId="{C42F046B-28EB-4530-A9A5-A0135663E138}" destId="{A5B17C80-33B2-460D-A1E0-C9505903FCE5}" srcOrd="10" destOrd="0" presId="urn:microsoft.com/office/officeart/2005/8/layout/chevron1"/>
    <dgm:cxn modelId="{C9000AD2-F8AA-467C-9D86-E93D0E69B3EB}" type="presParOf" srcId="{C42F046B-28EB-4530-A9A5-A0135663E138}" destId="{3355DCC6-3921-4676-ACD4-A5FCB52AC52D}" srcOrd="11" destOrd="0" presId="urn:microsoft.com/office/officeart/2005/8/layout/chevron1"/>
    <dgm:cxn modelId="{42A2A17D-4DE2-4CDB-9DA4-26BC24E8C7A3}" type="presParOf" srcId="{C42F046B-28EB-4530-A9A5-A0135663E138}" destId="{39250F76-2192-4983-8687-3A22A0264805}" srcOrd="12" destOrd="0" presId="urn:microsoft.com/office/officeart/2005/8/layout/chevron1"/>
    <dgm:cxn modelId="{C0804890-29B8-4C7C-8BAF-6836391E3B5B}" type="presParOf" srcId="{C42F046B-28EB-4530-A9A5-A0135663E138}" destId="{E84C51A2-031C-40BE-9308-036F4BE11FD2}" srcOrd="13" destOrd="0" presId="urn:microsoft.com/office/officeart/2005/8/layout/chevron1"/>
    <dgm:cxn modelId="{41D6A279-C186-4980-BB7D-D2920B790A60}" type="presParOf" srcId="{C42F046B-28EB-4530-A9A5-A0135663E138}" destId="{469E39DA-16FE-4EAA-AA6C-5ACE4ADEB951}" srcOrd="1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A94B52E-AE07-4A0E-B8E9-35C9CA3E4272}" type="doc">
      <dgm:prSet loTypeId="urn:microsoft.com/office/officeart/2005/8/layout/chevron1" loCatId="process" qsTypeId="urn:microsoft.com/office/officeart/2005/8/quickstyle/simple3" qsCatId="simple" csTypeId="urn:microsoft.com/office/officeart/2005/8/colors/accent6_4" csCatId="accent6" phldr="1"/>
      <dgm:spPr/>
    </dgm:pt>
    <dgm:pt modelId="{F062C8F6-F7E6-4916-8563-38A9F1D5D9EA}">
      <dgm:prSet phldrT="[Text]"/>
      <dgm:spPr/>
      <dgm:t>
        <a:bodyPr/>
        <a:lstStyle/>
        <a:p>
          <a:r>
            <a:rPr lang="en-US" dirty="0"/>
            <a:t>Merge Separate File(s)</a:t>
          </a:r>
          <a:endParaRPr lang="en-SG" dirty="0"/>
        </a:p>
      </dgm:t>
    </dgm:pt>
    <dgm:pt modelId="{6BC0FACF-FCDE-44F2-B580-CEF7CD58A6EB}" type="parTrans" cxnId="{8B8608D0-38B1-4FDF-81A9-CA17DF66ECB9}">
      <dgm:prSet/>
      <dgm:spPr/>
      <dgm:t>
        <a:bodyPr/>
        <a:lstStyle/>
        <a:p>
          <a:endParaRPr lang="en-SG"/>
        </a:p>
      </dgm:t>
    </dgm:pt>
    <dgm:pt modelId="{635FA3E9-E931-4AAB-BD62-1B8735B303B5}" type="sibTrans" cxnId="{8B8608D0-38B1-4FDF-81A9-CA17DF66ECB9}">
      <dgm:prSet/>
      <dgm:spPr/>
      <dgm:t>
        <a:bodyPr/>
        <a:lstStyle/>
        <a:p>
          <a:endParaRPr lang="en-SG"/>
        </a:p>
      </dgm:t>
    </dgm:pt>
    <dgm:pt modelId="{B5F36E83-5A0F-46B2-A961-4FEB9F1073F9}">
      <dgm:prSet phldrT="[Text]"/>
      <dgm:spPr/>
      <dgm:t>
        <a:bodyPr/>
        <a:lstStyle/>
        <a:p>
          <a:r>
            <a:rPr lang="en-US" dirty="0"/>
            <a:t>Select Columns  based on knowledge and null values</a:t>
          </a:r>
          <a:endParaRPr lang="en-SG" dirty="0"/>
        </a:p>
      </dgm:t>
    </dgm:pt>
    <dgm:pt modelId="{4514AC86-5389-41A0-A97D-A67D9453047D}" type="parTrans" cxnId="{4EB455A3-868E-449F-B2B9-C1A43AB3D77E}">
      <dgm:prSet/>
      <dgm:spPr/>
      <dgm:t>
        <a:bodyPr/>
        <a:lstStyle/>
        <a:p>
          <a:endParaRPr lang="en-SG"/>
        </a:p>
      </dgm:t>
    </dgm:pt>
    <dgm:pt modelId="{5279B169-6D04-4CC4-B0ED-309F14FA5A6F}" type="sibTrans" cxnId="{4EB455A3-868E-449F-B2B9-C1A43AB3D77E}">
      <dgm:prSet/>
      <dgm:spPr/>
      <dgm:t>
        <a:bodyPr/>
        <a:lstStyle/>
        <a:p>
          <a:endParaRPr lang="en-SG"/>
        </a:p>
      </dgm:t>
    </dgm:pt>
    <dgm:pt modelId="{70108020-24FB-4AD5-B3AF-BB5DE60C655E}">
      <dgm:prSet phldrT="[Text]"/>
      <dgm:spPr/>
      <dgm:t>
        <a:bodyPr/>
        <a:lstStyle/>
        <a:p>
          <a:r>
            <a:rPr lang="en-US" dirty="0"/>
            <a:t>Remove problematic data </a:t>
          </a:r>
          <a:r>
            <a:rPr lang="en-US" dirty="0" err="1"/>
            <a:t>etc</a:t>
          </a:r>
          <a:r>
            <a:rPr lang="en-US" dirty="0"/>
            <a:t> null/random strings</a:t>
          </a:r>
          <a:endParaRPr lang="en-SG" dirty="0"/>
        </a:p>
      </dgm:t>
    </dgm:pt>
    <dgm:pt modelId="{CDA0BFFE-4323-4F23-A99D-A2CE3D0842BB}" type="parTrans" cxnId="{41577A58-3D23-453B-8E06-B301D6A2FFF6}">
      <dgm:prSet/>
      <dgm:spPr/>
      <dgm:t>
        <a:bodyPr/>
        <a:lstStyle/>
        <a:p>
          <a:endParaRPr lang="en-SG"/>
        </a:p>
      </dgm:t>
    </dgm:pt>
    <dgm:pt modelId="{7729994E-9F1F-45BC-A856-8AD4B77AD9BF}" type="sibTrans" cxnId="{41577A58-3D23-453B-8E06-B301D6A2FFF6}">
      <dgm:prSet/>
      <dgm:spPr/>
      <dgm:t>
        <a:bodyPr/>
        <a:lstStyle/>
        <a:p>
          <a:endParaRPr lang="en-SG"/>
        </a:p>
      </dgm:t>
    </dgm:pt>
    <dgm:pt modelId="{3BCE92BB-3641-4796-A112-91E403B085D0}">
      <dgm:prSet phldrT="[Text]"/>
      <dgm:spPr/>
      <dgm:t>
        <a:bodyPr/>
        <a:lstStyle/>
        <a:p>
          <a:r>
            <a:rPr lang="en-US" dirty="0"/>
            <a:t>Fill missing values whenever possible</a:t>
          </a:r>
          <a:endParaRPr lang="en-SG" dirty="0"/>
        </a:p>
      </dgm:t>
    </dgm:pt>
    <dgm:pt modelId="{A36D8C26-54B9-4A3A-9A16-058290557F10}" type="parTrans" cxnId="{38893ACA-DA69-4272-8BA9-D5C5600FF01B}">
      <dgm:prSet/>
      <dgm:spPr/>
      <dgm:t>
        <a:bodyPr/>
        <a:lstStyle/>
        <a:p>
          <a:endParaRPr lang="en-SG"/>
        </a:p>
      </dgm:t>
    </dgm:pt>
    <dgm:pt modelId="{CA2E20C6-6433-44E0-B91F-9F9DF8E2A1D1}" type="sibTrans" cxnId="{38893ACA-DA69-4272-8BA9-D5C5600FF01B}">
      <dgm:prSet/>
      <dgm:spPr/>
      <dgm:t>
        <a:bodyPr/>
        <a:lstStyle/>
        <a:p>
          <a:endParaRPr lang="en-SG"/>
        </a:p>
      </dgm:t>
    </dgm:pt>
    <dgm:pt modelId="{CEBC66B3-9C12-4B52-AE98-53E67B79496D}">
      <dgm:prSet phldrT="[Text]"/>
      <dgm:spPr/>
      <dgm:t>
        <a:bodyPr/>
        <a:lstStyle/>
        <a:p>
          <a:r>
            <a:rPr lang="en-US" dirty="0"/>
            <a:t>Remove outliers</a:t>
          </a:r>
          <a:endParaRPr lang="en-SG" dirty="0"/>
        </a:p>
      </dgm:t>
    </dgm:pt>
    <dgm:pt modelId="{419B57F5-A66A-4374-91A6-BD16A01B9C9A}" type="parTrans" cxnId="{3C9E3F8E-F2DD-4A94-A517-D15EBDC8293D}">
      <dgm:prSet/>
      <dgm:spPr/>
      <dgm:t>
        <a:bodyPr/>
        <a:lstStyle/>
        <a:p>
          <a:endParaRPr lang="en-SG"/>
        </a:p>
      </dgm:t>
    </dgm:pt>
    <dgm:pt modelId="{7D636205-BD2A-460B-8E01-E175E60BEC53}" type="sibTrans" cxnId="{3C9E3F8E-F2DD-4A94-A517-D15EBDC8293D}">
      <dgm:prSet/>
      <dgm:spPr/>
      <dgm:t>
        <a:bodyPr/>
        <a:lstStyle/>
        <a:p>
          <a:endParaRPr lang="en-SG"/>
        </a:p>
      </dgm:t>
    </dgm:pt>
    <dgm:pt modelId="{945661D1-9D45-4516-A1D2-2F23B9E72EA0}">
      <dgm:prSet phldrT="[Text]"/>
      <dgm:spPr/>
      <dgm:t>
        <a:bodyPr/>
        <a:lstStyle/>
        <a:p>
          <a:r>
            <a:rPr lang="en-US" dirty="0"/>
            <a:t>Derive columns needed for traditional method</a:t>
          </a:r>
          <a:endParaRPr lang="en-SG" dirty="0"/>
        </a:p>
      </dgm:t>
    </dgm:pt>
    <dgm:pt modelId="{1C850B41-E3C8-4B14-99AC-4BD6D658CB96}" type="parTrans" cxnId="{E9EBA37B-9417-4B69-919C-9ED84D9282F7}">
      <dgm:prSet/>
      <dgm:spPr/>
      <dgm:t>
        <a:bodyPr/>
        <a:lstStyle/>
        <a:p>
          <a:endParaRPr lang="en-SG"/>
        </a:p>
      </dgm:t>
    </dgm:pt>
    <dgm:pt modelId="{2062F174-3B2F-4C91-8F66-1CD069373419}" type="sibTrans" cxnId="{E9EBA37B-9417-4B69-919C-9ED84D9282F7}">
      <dgm:prSet/>
      <dgm:spPr/>
      <dgm:t>
        <a:bodyPr/>
        <a:lstStyle/>
        <a:p>
          <a:endParaRPr lang="en-SG"/>
        </a:p>
      </dgm:t>
    </dgm:pt>
    <dgm:pt modelId="{08A1CDD2-4744-494D-AD0F-F6E46B8705DC}">
      <dgm:prSet phldrT="[Text]"/>
      <dgm:spPr/>
      <dgm:t>
        <a:bodyPr/>
        <a:lstStyle/>
        <a:p>
          <a:r>
            <a:rPr lang="en-US" dirty="0"/>
            <a:t>Min Max </a:t>
          </a:r>
          <a:r>
            <a:rPr lang="en-US" dirty="0" err="1"/>
            <a:t>Normalise</a:t>
          </a:r>
          <a:endParaRPr lang="en-SG" dirty="0"/>
        </a:p>
      </dgm:t>
    </dgm:pt>
    <dgm:pt modelId="{2F2B9738-AF53-4AC0-82AC-28D5870BC4CF}" type="parTrans" cxnId="{57802073-A551-4E0D-8DE8-EF082084EB85}">
      <dgm:prSet/>
      <dgm:spPr/>
      <dgm:t>
        <a:bodyPr/>
        <a:lstStyle/>
        <a:p>
          <a:endParaRPr lang="en-SG"/>
        </a:p>
      </dgm:t>
    </dgm:pt>
    <dgm:pt modelId="{4ECE9045-8DA9-495C-896F-8C7026139A3A}" type="sibTrans" cxnId="{57802073-A551-4E0D-8DE8-EF082084EB85}">
      <dgm:prSet/>
      <dgm:spPr/>
      <dgm:t>
        <a:bodyPr/>
        <a:lstStyle/>
        <a:p>
          <a:endParaRPr lang="en-SG"/>
        </a:p>
      </dgm:t>
    </dgm:pt>
    <dgm:pt modelId="{4C6F8CD7-6299-4FA1-A515-A053F120C2AD}">
      <dgm:prSet phldrT="[Text]"/>
      <dgm:spPr/>
      <dgm:t>
        <a:bodyPr/>
        <a:lstStyle/>
        <a:p>
          <a:r>
            <a:rPr lang="en-US" dirty="0"/>
            <a:t>Adjust </a:t>
          </a:r>
          <a:r>
            <a:rPr lang="en-US" dirty="0" err="1"/>
            <a:t>Dtypes</a:t>
          </a:r>
          <a:endParaRPr lang="en-SG" dirty="0"/>
        </a:p>
      </dgm:t>
    </dgm:pt>
    <dgm:pt modelId="{5780121C-D6EB-454C-8A59-14E2DBC3654A}" type="parTrans" cxnId="{E0E47B30-9B63-46C8-B305-AD1FCECA9F16}">
      <dgm:prSet/>
      <dgm:spPr/>
      <dgm:t>
        <a:bodyPr/>
        <a:lstStyle/>
        <a:p>
          <a:endParaRPr lang="en-SG"/>
        </a:p>
      </dgm:t>
    </dgm:pt>
    <dgm:pt modelId="{402D879D-A441-4F74-A8C7-54757BE89836}" type="sibTrans" cxnId="{E0E47B30-9B63-46C8-B305-AD1FCECA9F16}">
      <dgm:prSet/>
      <dgm:spPr/>
      <dgm:t>
        <a:bodyPr/>
        <a:lstStyle/>
        <a:p>
          <a:endParaRPr lang="en-SG"/>
        </a:p>
      </dgm:t>
    </dgm:pt>
    <dgm:pt modelId="{C42F046B-28EB-4530-A9A5-A0135663E138}" type="pres">
      <dgm:prSet presAssocID="{FA94B52E-AE07-4A0E-B8E9-35C9CA3E4272}" presName="Name0" presStyleCnt="0">
        <dgm:presLayoutVars>
          <dgm:dir/>
          <dgm:animLvl val="lvl"/>
          <dgm:resizeHandles val="exact"/>
        </dgm:presLayoutVars>
      </dgm:prSet>
      <dgm:spPr/>
    </dgm:pt>
    <dgm:pt modelId="{EBC909A1-4AFF-42B1-B8D3-598A85011561}" type="pres">
      <dgm:prSet presAssocID="{F062C8F6-F7E6-4916-8563-38A9F1D5D9EA}" presName="parTxOnly" presStyleLbl="node1" presStyleIdx="0" presStyleCnt="8">
        <dgm:presLayoutVars>
          <dgm:chMax val="0"/>
          <dgm:chPref val="0"/>
          <dgm:bulletEnabled val="1"/>
        </dgm:presLayoutVars>
      </dgm:prSet>
      <dgm:spPr/>
    </dgm:pt>
    <dgm:pt modelId="{E1CB02D4-BFA4-4B8E-A1A2-DA342A3A6DF7}" type="pres">
      <dgm:prSet presAssocID="{635FA3E9-E931-4AAB-BD62-1B8735B303B5}" presName="parTxOnlySpace" presStyleCnt="0"/>
      <dgm:spPr/>
    </dgm:pt>
    <dgm:pt modelId="{BFF8961E-5CDE-4F0F-B976-8FAB19979FAF}" type="pres">
      <dgm:prSet presAssocID="{B5F36E83-5A0F-46B2-A961-4FEB9F1073F9}" presName="parTxOnly" presStyleLbl="node1" presStyleIdx="1" presStyleCnt="8">
        <dgm:presLayoutVars>
          <dgm:chMax val="0"/>
          <dgm:chPref val="0"/>
          <dgm:bulletEnabled val="1"/>
        </dgm:presLayoutVars>
      </dgm:prSet>
      <dgm:spPr/>
    </dgm:pt>
    <dgm:pt modelId="{0EE19A76-74A5-461C-AE75-AD4B1DC8D6BE}" type="pres">
      <dgm:prSet presAssocID="{5279B169-6D04-4CC4-B0ED-309F14FA5A6F}" presName="parTxOnlySpace" presStyleCnt="0"/>
      <dgm:spPr/>
    </dgm:pt>
    <dgm:pt modelId="{84F8374E-2AA3-4599-AC22-6DF6E2C7D014}" type="pres">
      <dgm:prSet presAssocID="{70108020-24FB-4AD5-B3AF-BB5DE60C655E}" presName="parTxOnly" presStyleLbl="node1" presStyleIdx="2" presStyleCnt="8">
        <dgm:presLayoutVars>
          <dgm:chMax val="0"/>
          <dgm:chPref val="0"/>
          <dgm:bulletEnabled val="1"/>
        </dgm:presLayoutVars>
      </dgm:prSet>
      <dgm:spPr/>
    </dgm:pt>
    <dgm:pt modelId="{59966E5B-1538-45EE-A42F-71373EE32660}" type="pres">
      <dgm:prSet presAssocID="{7729994E-9F1F-45BC-A856-8AD4B77AD9BF}" presName="parTxOnlySpace" presStyleCnt="0"/>
      <dgm:spPr/>
    </dgm:pt>
    <dgm:pt modelId="{C572DB21-24D5-42DF-B57E-E817DB8CACE3}" type="pres">
      <dgm:prSet presAssocID="{3BCE92BB-3641-4796-A112-91E403B085D0}" presName="parTxOnly" presStyleLbl="node1" presStyleIdx="3" presStyleCnt="8">
        <dgm:presLayoutVars>
          <dgm:chMax val="0"/>
          <dgm:chPref val="0"/>
          <dgm:bulletEnabled val="1"/>
        </dgm:presLayoutVars>
      </dgm:prSet>
      <dgm:spPr/>
    </dgm:pt>
    <dgm:pt modelId="{89A403DB-A7F5-4D7A-B941-8F1A0A7AF6CA}" type="pres">
      <dgm:prSet presAssocID="{CA2E20C6-6433-44E0-B91F-9F9DF8E2A1D1}" presName="parTxOnlySpace" presStyleCnt="0"/>
      <dgm:spPr/>
    </dgm:pt>
    <dgm:pt modelId="{6C6C8A13-E760-4538-A071-32E0236FA4E2}" type="pres">
      <dgm:prSet presAssocID="{4C6F8CD7-6299-4FA1-A515-A053F120C2AD}" presName="parTxOnly" presStyleLbl="node1" presStyleIdx="4" presStyleCnt="8">
        <dgm:presLayoutVars>
          <dgm:chMax val="0"/>
          <dgm:chPref val="0"/>
          <dgm:bulletEnabled val="1"/>
        </dgm:presLayoutVars>
      </dgm:prSet>
      <dgm:spPr/>
    </dgm:pt>
    <dgm:pt modelId="{BEE732EF-D2FE-4D93-94B5-26AA832E2092}" type="pres">
      <dgm:prSet presAssocID="{402D879D-A441-4F74-A8C7-54757BE89836}" presName="parTxOnlySpace" presStyleCnt="0"/>
      <dgm:spPr/>
    </dgm:pt>
    <dgm:pt modelId="{A5B17C80-33B2-460D-A1E0-C9505903FCE5}" type="pres">
      <dgm:prSet presAssocID="{CEBC66B3-9C12-4B52-AE98-53E67B79496D}" presName="parTxOnly" presStyleLbl="node1" presStyleIdx="5" presStyleCnt="8" custLinFactNeighborX="24072" custLinFactNeighborY="-670">
        <dgm:presLayoutVars>
          <dgm:chMax val="0"/>
          <dgm:chPref val="0"/>
          <dgm:bulletEnabled val="1"/>
        </dgm:presLayoutVars>
      </dgm:prSet>
      <dgm:spPr/>
    </dgm:pt>
    <dgm:pt modelId="{3355DCC6-3921-4676-ACD4-A5FCB52AC52D}" type="pres">
      <dgm:prSet presAssocID="{7D636205-BD2A-460B-8E01-E175E60BEC53}" presName="parTxOnlySpace" presStyleCnt="0"/>
      <dgm:spPr/>
    </dgm:pt>
    <dgm:pt modelId="{39250F76-2192-4983-8687-3A22A0264805}" type="pres">
      <dgm:prSet presAssocID="{945661D1-9D45-4516-A1D2-2F23B9E72EA0}" presName="parTxOnly" presStyleLbl="node1" presStyleIdx="6" presStyleCnt="8" custLinFactNeighborX="24072" custLinFactNeighborY="-670">
        <dgm:presLayoutVars>
          <dgm:chMax val="0"/>
          <dgm:chPref val="0"/>
          <dgm:bulletEnabled val="1"/>
        </dgm:presLayoutVars>
      </dgm:prSet>
      <dgm:spPr/>
    </dgm:pt>
    <dgm:pt modelId="{E84C51A2-031C-40BE-9308-036F4BE11FD2}" type="pres">
      <dgm:prSet presAssocID="{2062F174-3B2F-4C91-8F66-1CD069373419}" presName="parTxOnlySpace" presStyleCnt="0"/>
      <dgm:spPr/>
    </dgm:pt>
    <dgm:pt modelId="{469E39DA-16FE-4EAA-AA6C-5ACE4ADEB951}" type="pres">
      <dgm:prSet presAssocID="{08A1CDD2-4744-494D-AD0F-F6E46B8705DC}" presName="parTxOnly" presStyleLbl="node1" presStyleIdx="7" presStyleCnt="8" custLinFactNeighborX="24072" custLinFactNeighborY="-670">
        <dgm:presLayoutVars>
          <dgm:chMax val="0"/>
          <dgm:chPref val="0"/>
          <dgm:bulletEnabled val="1"/>
        </dgm:presLayoutVars>
      </dgm:prSet>
      <dgm:spPr/>
    </dgm:pt>
  </dgm:ptLst>
  <dgm:cxnLst>
    <dgm:cxn modelId="{19EB7705-2A19-41D3-B0AF-FF6BA860212F}" type="presOf" srcId="{FA94B52E-AE07-4A0E-B8E9-35C9CA3E4272}" destId="{C42F046B-28EB-4530-A9A5-A0135663E138}" srcOrd="0" destOrd="0" presId="urn:microsoft.com/office/officeart/2005/8/layout/chevron1"/>
    <dgm:cxn modelId="{0FD4A610-78FE-492C-B1E7-BF13E72D8134}" type="presOf" srcId="{CEBC66B3-9C12-4B52-AE98-53E67B79496D}" destId="{A5B17C80-33B2-460D-A1E0-C9505903FCE5}" srcOrd="0" destOrd="0" presId="urn:microsoft.com/office/officeart/2005/8/layout/chevron1"/>
    <dgm:cxn modelId="{94A9C519-D95A-4B91-BD2A-F63573634CCD}" type="presOf" srcId="{3BCE92BB-3641-4796-A112-91E403B085D0}" destId="{C572DB21-24D5-42DF-B57E-E817DB8CACE3}" srcOrd="0" destOrd="0" presId="urn:microsoft.com/office/officeart/2005/8/layout/chevron1"/>
    <dgm:cxn modelId="{AD02DE1D-48DF-4763-8AA2-FAEEABDD68A8}" type="presOf" srcId="{945661D1-9D45-4516-A1D2-2F23B9E72EA0}" destId="{39250F76-2192-4983-8687-3A22A0264805}" srcOrd="0" destOrd="0" presId="urn:microsoft.com/office/officeart/2005/8/layout/chevron1"/>
    <dgm:cxn modelId="{E0E47B30-9B63-46C8-B305-AD1FCECA9F16}" srcId="{FA94B52E-AE07-4A0E-B8E9-35C9CA3E4272}" destId="{4C6F8CD7-6299-4FA1-A515-A053F120C2AD}" srcOrd="4" destOrd="0" parTransId="{5780121C-D6EB-454C-8A59-14E2DBC3654A}" sibTransId="{402D879D-A441-4F74-A8C7-54757BE89836}"/>
    <dgm:cxn modelId="{E0579744-E1FE-4231-A1F6-5CF201A6EF3C}" type="presOf" srcId="{70108020-24FB-4AD5-B3AF-BB5DE60C655E}" destId="{84F8374E-2AA3-4599-AC22-6DF6E2C7D014}" srcOrd="0" destOrd="0" presId="urn:microsoft.com/office/officeart/2005/8/layout/chevron1"/>
    <dgm:cxn modelId="{7A84696E-EBDD-4A4D-A6DB-4252ED2824FF}" type="presOf" srcId="{08A1CDD2-4744-494D-AD0F-F6E46B8705DC}" destId="{469E39DA-16FE-4EAA-AA6C-5ACE4ADEB951}" srcOrd="0" destOrd="0" presId="urn:microsoft.com/office/officeart/2005/8/layout/chevron1"/>
    <dgm:cxn modelId="{57802073-A551-4E0D-8DE8-EF082084EB85}" srcId="{FA94B52E-AE07-4A0E-B8E9-35C9CA3E4272}" destId="{08A1CDD2-4744-494D-AD0F-F6E46B8705DC}" srcOrd="7" destOrd="0" parTransId="{2F2B9738-AF53-4AC0-82AC-28D5870BC4CF}" sibTransId="{4ECE9045-8DA9-495C-896F-8C7026139A3A}"/>
    <dgm:cxn modelId="{41577A58-3D23-453B-8E06-B301D6A2FFF6}" srcId="{FA94B52E-AE07-4A0E-B8E9-35C9CA3E4272}" destId="{70108020-24FB-4AD5-B3AF-BB5DE60C655E}" srcOrd="2" destOrd="0" parTransId="{CDA0BFFE-4323-4F23-A99D-A2CE3D0842BB}" sibTransId="{7729994E-9F1F-45BC-A856-8AD4B77AD9BF}"/>
    <dgm:cxn modelId="{E9EBA37B-9417-4B69-919C-9ED84D9282F7}" srcId="{FA94B52E-AE07-4A0E-B8E9-35C9CA3E4272}" destId="{945661D1-9D45-4516-A1D2-2F23B9E72EA0}" srcOrd="6" destOrd="0" parTransId="{1C850B41-E3C8-4B14-99AC-4BD6D658CB96}" sibTransId="{2062F174-3B2F-4C91-8F66-1CD069373419}"/>
    <dgm:cxn modelId="{3C9E3F8E-F2DD-4A94-A517-D15EBDC8293D}" srcId="{FA94B52E-AE07-4A0E-B8E9-35C9CA3E4272}" destId="{CEBC66B3-9C12-4B52-AE98-53E67B79496D}" srcOrd="5" destOrd="0" parTransId="{419B57F5-A66A-4374-91A6-BD16A01B9C9A}" sibTransId="{7D636205-BD2A-460B-8E01-E175E60BEC53}"/>
    <dgm:cxn modelId="{4EB455A3-868E-449F-B2B9-C1A43AB3D77E}" srcId="{FA94B52E-AE07-4A0E-B8E9-35C9CA3E4272}" destId="{B5F36E83-5A0F-46B2-A961-4FEB9F1073F9}" srcOrd="1" destOrd="0" parTransId="{4514AC86-5389-41A0-A97D-A67D9453047D}" sibTransId="{5279B169-6D04-4CC4-B0ED-309F14FA5A6F}"/>
    <dgm:cxn modelId="{6CE42BC1-1BC7-4AEC-B729-10320A965B7C}" type="presOf" srcId="{F062C8F6-F7E6-4916-8563-38A9F1D5D9EA}" destId="{EBC909A1-4AFF-42B1-B8D3-598A85011561}" srcOrd="0" destOrd="0" presId="urn:microsoft.com/office/officeart/2005/8/layout/chevron1"/>
    <dgm:cxn modelId="{38893ACA-DA69-4272-8BA9-D5C5600FF01B}" srcId="{FA94B52E-AE07-4A0E-B8E9-35C9CA3E4272}" destId="{3BCE92BB-3641-4796-A112-91E403B085D0}" srcOrd="3" destOrd="0" parTransId="{A36D8C26-54B9-4A3A-9A16-058290557F10}" sibTransId="{CA2E20C6-6433-44E0-B91F-9F9DF8E2A1D1}"/>
    <dgm:cxn modelId="{8B8608D0-38B1-4FDF-81A9-CA17DF66ECB9}" srcId="{FA94B52E-AE07-4A0E-B8E9-35C9CA3E4272}" destId="{F062C8F6-F7E6-4916-8563-38A9F1D5D9EA}" srcOrd="0" destOrd="0" parTransId="{6BC0FACF-FCDE-44F2-B580-CEF7CD58A6EB}" sibTransId="{635FA3E9-E931-4AAB-BD62-1B8735B303B5}"/>
    <dgm:cxn modelId="{1C7088DB-E1DA-484B-A2F3-F75A8712D046}" type="presOf" srcId="{4C6F8CD7-6299-4FA1-A515-A053F120C2AD}" destId="{6C6C8A13-E760-4538-A071-32E0236FA4E2}" srcOrd="0" destOrd="0" presId="urn:microsoft.com/office/officeart/2005/8/layout/chevron1"/>
    <dgm:cxn modelId="{32644DF6-D41B-4C6D-B26E-7A254C92781F}" type="presOf" srcId="{B5F36E83-5A0F-46B2-A961-4FEB9F1073F9}" destId="{BFF8961E-5CDE-4F0F-B976-8FAB19979FAF}" srcOrd="0" destOrd="0" presId="urn:microsoft.com/office/officeart/2005/8/layout/chevron1"/>
    <dgm:cxn modelId="{83711F17-DADE-42F8-BBF0-D9DA3300BCFA}" type="presParOf" srcId="{C42F046B-28EB-4530-A9A5-A0135663E138}" destId="{EBC909A1-4AFF-42B1-B8D3-598A85011561}" srcOrd="0" destOrd="0" presId="urn:microsoft.com/office/officeart/2005/8/layout/chevron1"/>
    <dgm:cxn modelId="{06F764B5-00D5-4D1E-AD1A-9C039040A1F5}" type="presParOf" srcId="{C42F046B-28EB-4530-A9A5-A0135663E138}" destId="{E1CB02D4-BFA4-4B8E-A1A2-DA342A3A6DF7}" srcOrd="1" destOrd="0" presId="urn:microsoft.com/office/officeart/2005/8/layout/chevron1"/>
    <dgm:cxn modelId="{7D2781E3-0316-4DD7-BE7E-58023A77A86C}" type="presParOf" srcId="{C42F046B-28EB-4530-A9A5-A0135663E138}" destId="{BFF8961E-5CDE-4F0F-B976-8FAB19979FAF}" srcOrd="2" destOrd="0" presId="urn:microsoft.com/office/officeart/2005/8/layout/chevron1"/>
    <dgm:cxn modelId="{86A2876E-A10F-470E-A68A-035505031773}" type="presParOf" srcId="{C42F046B-28EB-4530-A9A5-A0135663E138}" destId="{0EE19A76-74A5-461C-AE75-AD4B1DC8D6BE}" srcOrd="3" destOrd="0" presId="urn:microsoft.com/office/officeart/2005/8/layout/chevron1"/>
    <dgm:cxn modelId="{B51A5CAB-50F9-4898-9952-3C3746CF3AD9}" type="presParOf" srcId="{C42F046B-28EB-4530-A9A5-A0135663E138}" destId="{84F8374E-2AA3-4599-AC22-6DF6E2C7D014}" srcOrd="4" destOrd="0" presId="urn:microsoft.com/office/officeart/2005/8/layout/chevron1"/>
    <dgm:cxn modelId="{F3EF1B2C-3B37-4E40-ABB7-7AFF7E21DF75}" type="presParOf" srcId="{C42F046B-28EB-4530-A9A5-A0135663E138}" destId="{59966E5B-1538-45EE-A42F-71373EE32660}" srcOrd="5" destOrd="0" presId="urn:microsoft.com/office/officeart/2005/8/layout/chevron1"/>
    <dgm:cxn modelId="{1578867D-B141-465B-A3E2-C2D55C0E852E}" type="presParOf" srcId="{C42F046B-28EB-4530-A9A5-A0135663E138}" destId="{C572DB21-24D5-42DF-B57E-E817DB8CACE3}" srcOrd="6" destOrd="0" presId="urn:microsoft.com/office/officeart/2005/8/layout/chevron1"/>
    <dgm:cxn modelId="{3484EA46-DB2F-43BA-ADEB-01AAAB1B11B4}" type="presParOf" srcId="{C42F046B-28EB-4530-A9A5-A0135663E138}" destId="{89A403DB-A7F5-4D7A-B941-8F1A0A7AF6CA}" srcOrd="7" destOrd="0" presId="urn:microsoft.com/office/officeart/2005/8/layout/chevron1"/>
    <dgm:cxn modelId="{BB918732-72B8-49DF-BBD6-DFE21E6999B6}" type="presParOf" srcId="{C42F046B-28EB-4530-A9A5-A0135663E138}" destId="{6C6C8A13-E760-4538-A071-32E0236FA4E2}" srcOrd="8" destOrd="0" presId="urn:microsoft.com/office/officeart/2005/8/layout/chevron1"/>
    <dgm:cxn modelId="{EB745F47-E554-4B88-8538-051F41620978}" type="presParOf" srcId="{C42F046B-28EB-4530-A9A5-A0135663E138}" destId="{BEE732EF-D2FE-4D93-94B5-26AA832E2092}" srcOrd="9" destOrd="0" presId="urn:microsoft.com/office/officeart/2005/8/layout/chevron1"/>
    <dgm:cxn modelId="{0495BCAA-80C1-4CFA-8D89-941DA8CDC6D9}" type="presParOf" srcId="{C42F046B-28EB-4530-A9A5-A0135663E138}" destId="{A5B17C80-33B2-460D-A1E0-C9505903FCE5}" srcOrd="10" destOrd="0" presId="urn:microsoft.com/office/officeart/2005/8/layout/chevron1"/>
    <dgm:cxn modelId="{C9000AD2-F8AA-467C-9D86-E93D0E69B3EB}" type="presParOf" srcId="{C42F046B-28EB-4530-A9A5-A0135663E138}" destId="{3355DCC6-3921-4676-ACD4-A5FCB52AC52D}" srcOrd="11" destOrd="0" presId="urn:microsoft.com/office/officeart/2005/8/layout/chevron1"/>
    <dgm:cxn modelId="{42A2A17D-4DE2-4CDB-9DA4-26BC24E8C7A3}" type="presParOf" srcId="{C42F046B-28EB-4530-A9A5-A0135663E138}" destId="{39250F76-2192-4983-8687-3A22A0264805}" srcOrd="12" destOrd="0" presId="urn:microsoft.com/office/officeart/2005/8/layout/chevron1"/>
    <dgm:cxn modelId="{C0804890-29B8-4C7C-8BAF-6836391E3B5B}" type="presParOf" srcId="{C42F046B-28EB-4530-A9A5-A0135663E138}" destId="{E84C51A2-031C-40BE-9308-036F4BE11FD2}" srcOrd="13" destOrd="0" presId="urn:microsoft.com/office/officeart/2005/8/layout/chevron1"/>
    <dgm:cxn modelId="{41D6A279-C186-4980-BB7D-D2920B790A60}" type="presParOf" srcId="{C42F046B-28EB-4530-A9A5-A0135663E138}" destId="{469E39DA-16FE-4EAA-AA6C-5ACE4ADEB951}" srcOrd="1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BC909A1-4AFF-42B1-B8D3-598A85011561}">
      <dsp:nvSpPr>
        <dsp:cNvPr id="0" name=""/>
        <dsp:cNvSpPr/>
      </dsp:nvSpPr>
      <dsp:spPr>
        <a:xfrm>
          <a:off x="898" y="2195186"/>
          <a:ext cx="1440246" cy="576098"/>
        </a:xfrm>
        <a:prstGeom prst="chevron">
          <a:avLst/>
        </a:prstGeom>
        <a:gradFill rotWithShape="0">
          <a:gsLst>
            <a:gs pos="0">
              <a:schemeClr val="accent6">
                <a:shade val="5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6">
                <a:shade val="5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6">
                <a:shade val="5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Merge Separate File(s)</a:t>
          </a:r>
          <a:endParaRPr lang="en-SG" sz="900" kern="1200" dirty="0"/>
        </a:p>
      </dsp:txBody>
      <dsp:txXfrm>
        <a:off x="288947" y="2195186"/>
        <a:ext cx="864148" cy="576098"/>
      </dsp:txXfrm>
    </dsp:sp>
    <dsp:sp modelId="{BFF8961E-5CDE-4F0F-B976-8FAB19979FAF}">
      <dsp:nvSpPr>
        <dsp:cNvPr id="0" name=""/>
        <dsp:cNvSpPr/>
      </dsp:nvSpPr>
      <dsp:spPr>
        <a:xfrm>
          <a:off x="1297120" y="2195186"/>
          <a:ext cx="1440246" cy="576098"/>
        </a:xfrm>
        <a:prstGeom prst="chevron">
          <a:avLst/>
        </a:prstGeom>
        <a:gradFill rotWithShape="0">
          <a:gsLst>
            <a:gs pos="0">
              <a:schemeClr val="accent6">
                <a:shade val="50000"/>
                <a:hueOff val="92106"/>
                <a:satOff val="-4026"/>
                <a:lumOff val="1099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6">
                <a:shade val="50000"/>
                <a:hueOff val="92106"/>
                <a:satOff val="-4026"/>
                <a:lumOff val="1099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6">
                <a:shade val="50000"/>
                <a:hueOff val="92106"/>
                <a:satOff val="-4026"/>
                <a:lumOff val="1099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Select Columns  based on knowledge and null values</a:t>
          </a:r>
          <a:endParaRPr lang="en-SG" sz="900" kern="1200" dirty="0"/>
        </a:p>
      </dsp:txBody>
      <dsp:txXfrm>
        <a:off x="1585169" y="2195186"/>
        <a:ext cx="864148" cy="576098"/>
      </dsp:txXfrm>
    </dsp:sp>
    <dsp:sp modelId="{84F8374E-2AA3-4599-AC22-6DF6E2C7D014}">
      <dsp:nvSpPr>
        <dsp:cNvPr id="0" name=""/>
        <dsp:cNvSpPr/>
      </dsp:nvSpPr>
      <dsp:spPr>
        <a:xfrm>
          <a:off x="2593343" y="2195186"/>
          <a:ext cx="1440246" cy="576098"/>
        </a:xfrm>
        <a:prstGeom prst="chevron">
          <a:avLst/>
        </a:prstGeom>
        <a:gradFill rotWithShape="0">
          <a:gsLst>
            <a:gs pos="0">
              <a:schemeClr val="accent6">
                <a:shade val="50000"/>
                <a:hueOff val="184212"/>
                <a:satOff val="-8053"/>
                <a:lumOff val="21981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6">
                <a:shade val="50000"/>
                <a:hueOff val="184212"/>
                <a:satOff val="-8053"/>
                <a:lumOff val="21981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6">
                <a:shade val="50000"/>
                <a:hueOff val="184212"/>
                <a:satOff val="-8053"/>
                <a:lumOff val="21981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Remove problematic data </a:t>
          </a:r>
          <a:r>
            <a:rPr lang="en-US" sz="900" kern="1200" dirty="0" err="1"/>
            <a:t>etc</a:t>
          </a:r>
          <a:r>
            <a:rPr lang="en-US" sz="900" kern="1200" dirty="0"/>
            <a:t> null/random strings</a:t>
          </a:r>
          <a:endParaRPr lang="en-SG" sz="900" kern="1200" dirty="0"/>
        </a:p>
      </dsp:txBody>
      <dsp:txXfrm>
        <a:off x="2881392" y="2195186"/>
        <a:ext cx="864148" cy="576098"/>
      </dsp:txXfrm>
    </dsp:sp>
    <dsp:sp modelId="{C572DB21-24D5-42DF-B57E-E817DB8CACE3}">
      <dsp:nvSpPr>
        <dsp:cNvPr id="0" name=""/>
        <dsp:cNvSpPr/>
      </dsp:nvSpPr>
      <dsp:spPr>
        <a:xfrm>
          <a:off x="3889565" y="2195186"/>
          <a:ext cx="1440246" cy="576098"/>
        </a:xfrm>
        <a:prstGeom prst="chevron">
          <a:avLst/>
        </a:prstGeom>
        <a:gradFill rotWithShape="0">
          <a:gsLst>
            <a:gs pos="0">
              <a:schemeClr val="accent6">
                <a:shade val="50000"/>
                <a:hueOff val="276318"/>
                <a:satOff val="-12079"/>
                <a:lumOff val="32971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6">
                <a:shade val="50000"/>
                <a:hueOff val="276318"/>
                <a:satOff val="-12079"/>
                <a:lumOff val="32971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6">
                <a:shade val="50000"/>
                <a:hueOff val="276318"/>
                <a:satOff val="-12079"/>
                <a:lumOff val="32971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Fill missing values whenever possible</a:t>
          </a:r>
          <a:endParaRPr lang="en-SG" sz="900" kern="1200" dirty="0"/>
        </a:p>
      </dsp:txBody>
      <dsp:txXfrm>
        <a:off x="4177614" y="2195186"/>
        <a:ext cx="864148" cy="576098"/>
      </dsp:txXfrm>
    </dsp:sp>
    <dsp:sp modelId="{6C6C8A13-E760-4538-A071-32E0236FA4E2}">
      <dsp:nvSpPr>
        <dsp:cNvPr id="0" name=""/>
        <dsp:cNvSpPr/>
      </dsp:nvSpPr>
      <dsp:spPr>
        <a:xfrm>
          <a:off x="5185787" y="2195186"/>
          <a:ext cx="1440246" cy="576098"/>
        </a:xfrm>
        <a:prstGeom prst="chevron">
          <a:avLst/>
        </a:prstGeom>
        <a:gradFill rotWithShape="0">
          <a:gsLst>
            <a:gs pos="0">
              <a:schemeClr val="accent6">
                <a:shade val="50000"/>
                <a:hueOff val="368424"/>
                <a:satOff val="-16105"/>
                <a:lumOff val="43961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6">
                <a:shade val="50000"/>
                <a:hueOff val="368424"/>
                <a:satOff val="-16105"/>
                <a:lumOff val="43961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6">
                <a:shade val="50000"/>
                <a:hueOff val="368424"/>
                <a:satOff val="-16105"/>
                <a:lumOff val="43961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Adjust </a:t>
          </a:r>
          <a:r>
            <a:rPr lang="en-US" sz="900" kern="1200" dirty="0" err="1"/>
            <a:t>Dtypes</a:t>
          </a:r>
          <a:endParaRPr lang="en-SG" sz="900" kern="1200" dirty="0"/>
        </a:p>
      </dsp:txBody>
      <dsp:txXfrm>
        <a:off x="5473836" y="2195186"/>
        <a:ext cx="864148" cy="576098"/>
      </dsp:txXfrm>
    </dsp:sp>
    <dsp:sp modelId="{A5B17C80-33B2-460D-A1E0-C9505903FCE5}">
      <dsp:nvSpPr>
        <dsp:cNvPr id="0" name=""/>
        <dsp:cNvSpPr/>
      </dsp:nvSpPr>
      <dsp:spPr>
        <a:xfrm>
          <a:off x="6516679" y="2191326"/>
          <a:ext cx="1440246" cy="576098"/>
        </a:xfrm>
        <a:prstGeom prst="chevron">
          <a:avLst/>
        </a:prstGeom>
        <a:gradFill rotWithShape="0">
          <a:gsLst>
            <a:gs pos="0">
              <a:schemeClr val="accent6">
                <a:shade val="50000"/>
                <a:hueOff val="276318"/>
                <a:satOff val="-12079"/>
                <a:lumOff val="32971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6">
                <a:shade val="50000"/>
                <a:hueOff val="276318"/>
                <a:satOff val="-12079"/>
                <a:lumOff val="32971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6">
                <a:shade val="50000"/>
                <a:hueOff val="276318"/>
                <a:satOff val="-12079"/>
                <a:lumOff val="32971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Remove outliers</a:t>
          </a:r>
          <a:endParaRPr lang="en-SG" sz="900" kern="1200" dirty="0"/>
        </a:p>
      </dsp:txBody>
      <dsp:txXfrm>
        <a:off x="6804728" y="2191326"/>
        <a:ext cx="864148" cy="576098"/>
      </dsp:txXfrm>
    </dsp:sp>
    <dsp:sp modelId="{39250F76-2192-4983-8687-3A22A0264805}">
      <dsp:nvSpPr>
        <dsp:cNvPr id="0" name=""/>
        <dsp:cNvSpPr/>
      </dsp:nvSpPr>
      <dsp:spPr>
        <a:xfrm>
          <a:off x="7812901" y="2191326"/>
          <a:ext cx="1440246" cy="576098"/>
        </a:xfrm>
        <a:prstGeom prst="chevron">
          <a:avLst/>
        </a:prstGeom>
        <a:gradFill rotWithShape="0">
          <a:gsLst>
            <a:gs pos="0">
              <a:schemeClr val="accent6">
                <a:shade val="50000"/>
                <a:hueOff val="184212"/>
                <a:satOff val="-8053"/>
                <a:lumOff val="21981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6">
                <a:shade val="50000"/>
                <a:hueOff val="184212"/>
                <a:satOff val="-8053"/>
                <a:lumOff val="21981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6">
                <a:shade val="50000"/>
                <a:hueOff val="184212"/>
                <a:satOff val="-8053"/>
                <a:lumOff val="21981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Derive columns needed for traditional method</a:t>
          </a:r>
          <a:endParaRPr lang="en-SG" sz="900" kern="1200" dirty="0"/>
        </a:p>
      </dsp:txBody>
      <dsp:txXfrm>
        <a:off x="8100950" y="2191326"/>
        <a:ext cx="864148" cy="576098"/>
      </dsp:txXfrm>
    </dsp:sp>
    <dsp:sp modelId="{469E39DA-16FE-4EAA-AA6C-5ACE4ADEB951}">
      <dsp:nvSpPr>
        <dsp:cNvPr id="0" name=""/>
        <dsp:cNvSpPr/>
      </dsp:nvSpPr>
      <dsp:spPr>
        <a:xfrm>
          <a:off x="9075353" y="2191326"/>
          <a:ext cx="1440246" cy="576098"/>
        </a:xfrm>
        <a:prstGeom prst="chevron">
          <a:avLst/>
        </a:prstGeom>
        <a:gradFill rotWithShape="0">
          <a:gsLst>
            <a:gs pos="0">
              <a:schemeClr val="accent6">
                <a:shade val="50000"/>
                <a:hueOff val="92106"/>
                <a:satOff val="-4026"/>
                <a:lumOff val="1099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6">
                <a:shade val="50000"/>
                <a:hueOff val="92106"/>
                <a:satOff val="-4026"/>
                <a:lumOff val="1099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6">
                <a:shade val="50000"/>
                <a:hueOff val="92106"/>
                <a:satOff val="-4026"/>
                <a:lumOff val="1099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Min Max </a:t>
          </a:r>
          <a:r>
            <a:rPr lang="en-US" sz="900" kern="1200" dirty="0" err="1"/>
            <a:t>Normalise</a:t>
          </a:r>
          <a:endParaRPr lang="en-SG" sz="900" kern="1200" dirty="0"/>
        </a:p>
      </dsp:txBody>
      <dsp:txXfrm>
        <a:off x="9363402" y="2191326"/>
        <a:ext cx="864148" cy="57609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BC909A1-4AFF-42B1-B8D3-598A85011561}">
      <dsp:nvSpPr>
        <dsp:cNvPr id="0" name=""/>
        <dsp:cNvSpPr/>
      </dsp:nvSpPr>
      <dsp:spPr>
        <a:xfrm>
          <a:off x="898" y="2195186"/>
          <a:ext cx="1440246" cy="576098"/>
        </a:xfrm>
        <a:prstGeom prst="chevron">
          <a:avLst/>
        </a:prstGeom>
        <a:gradFill rotWithShape="0">
          <a:gsLst>
            <a:gs pos="0">
              <a:schemeClr val="accent6">
                <a:shade val="5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6">
                <a:shade val="5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6">
                <a:shade val="5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Merge Separate File(s)</a:t>
          </a:r>
          <a:endParaRPr lang="en-SG" sz="900" kern="1200" dirty="0"/>
        </a:p>
      </dsp:txBody>
      <dsp:txXfrm>
        <a:off x="288947" y="2195186"/>
        <a:ext cx="864148" cy="576098"/>
      </dsp:txXfrm>
    </dsp:sp>
    <dsp:sp modelId="{BFF8961E-5CDE-4F0F-B976-8FAB19979FAF}">
      <dsp:nvSpPr>
        <dsp:cNvPr id="0" name=""/>
        <dsp:cNvSpPr/>
      </dsp:nvSpPr>
      <dsp:spPr>
        <a:xfrm>
          <a:off x="1297120" y="2195186"/>
          <a:ext cx="1440246" cy="576098"/>
        </a:xfrm>
        <a:prstGeom prst="chevron">
          <a:avLst/>
        </a:prstGeom>
        <a:gradFill rotWithShape="0">
          <a:gsLst>
            <a:gs pos="0">
              <a:schemeClr val="accent6">
                <a:shade val="50000"/>
                <a:hueOff val="92106"/>
                <a:satOff val="-4026"/>
                <a:lumOff val="1099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6">
                <a:shade val="50000"/>
                <a:hueOff val="92106"/>
                <a:satOff val="-4026"/>
                <a:lumOff val="1099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6">
                <a:shade val="50000"/>
                <a:hueOff val="92106"/>
                <a:satOff val="-4026"/>
                <a:lumOff val="1099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Select Columns  based on knowledge and null values</a:t>
          </a:r>
          <a:endParaRPr lang="en-SG" sz="900" kern="1200" dirty="0"/>
        </a:p>
      </dsp:txBody>
      <dsp:txXfrm>
        <a:off x="1585169" y="2195186"/>
        <a:ext cx="864148" cy="576098"/>
      </dsp:txXfrm>
    </dsp:sp>
    <dsp:sp modelId="{84F8374E-2AA3-4599-AC22-6DF6E2C7D014}">
      <dsp:nvSpPr>
        <dsp:cNvPr id="0" name=""/>
        <dsp:cNvSpPr/>
      </dsp:nvSpPr>
      <dsp:spPr>
        <a:xfrm>
          <a:off x="2593343" y="2195186"/>
          <a:ext cx="1440246" cy="576098"/>
        </a:xfrm>
        <a:prstGeom prst="chevron">
          <a:avLst/>
        </a:prstGeom>
        <a:gradFill rotWithShape="0">
          <a:gsLst>
            <a:gs pos="0">
              <a:schemeClr val="accent6">
                <a:shade val="50000"/>
                <a:hueOff val="184212"/>
                <a:satOff val="-8053"/>
                <a:lumOff val="21981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6">
                <a:shade val="50000"/>
                <a:hueOff val="184212"/>
                <a:satOff val="-8053"/>
                <a:lumOff val="21981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6">
                <a:shade val="50000"/>
                <a:hueOff val="184212"/>
                <a:satOff val="-8053"/>
                <a:lumOff val="21981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Remove problematic data </a:t>
          </a:r>
          <a:r>
            <a:rPr lang="en-US" sz="900" kern="1200" dirty="0" err="1"/>
            <a:t>etc</a:t>
          </a:r>
          <a:r>
            <a:rPr lang="en-US" sz="900" kern="1200" dirty="0"/>
            <a:t> null/random strings</a:t>
          </a:r>
          <a:endParaRPr lang="en-SG" sz="900" kern="1200" dirty="0"/>
        </a:p>
      </dsp:txBody>
      <dsp:txXfrm>
        <a:off x="2881392" y="2195186"/>
        <a:ext cx="864148" cy="576098"/>
      </dsp:txXfrm>
    </dsp:sp>
    <dsp:sp modelId="{C572DB21-24D5-42DF-B57E-E817DB8CACE3}">
      <dsp:nvSpPr>
        <dsp:cNvPr id="0" name=""/>
        <dsp:cNvSpPr/>
      </dsp:nvSpPr>
      <dsp:spPr>
        <a:xfrm>
          <a:off x="3889565" y="2195186"/>
          <a:ext cx="1440246" cy="576098"/>
        </a:xfrm>
        <a:prstGeom prst="chevron">
          <a:avLst/>
        </a:prstGeom>
        <a:gradFill rotWithShape="0">
          <a:gsLst>
            <a:gs pos="0">
              <a:schemeClr val="accent6">
                <a:shade val="50000"/>
                <a:hueOff val="276318"/>
                <a:satOff val="-12079"/>
                <a:lumOff val="32971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6">
                <a:shade val="50000"/>
                <a:hueOff val="276318"/>
                <a:satOff val="-12079"/>
                <a:lumOff val="32971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6">
                <a:shade val="50000"/>
                <a:hueOff val="276318"/>
                <a:satOff val="-12079"/>
                <a:lumOff val="32971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Fill missing values whenever possible</a:t>
          </a:r>
          <a:endParaRPr lang="en-SG" sz="900" kern="1200" dirty="0"/>
        </a:p>
      </dsp:txBody>
      <dsp:txXfrm>
        <a:off x="4177614" y="2195186"/>
        <a:ext cx="864148" cy="576098"/>
      </dsp:txXfrm>
    </dsp:sp>
    <dsp:sp modelId="{6C6C8A13-E760-4538-A071-32E0236FA4E2}">
      <dsp:nvSpPr>
        <dsp:cNvPr id="0" name=""/>
        <dsp:cNvSpPr/>
      </dsp:nvSpPr>
      <dsp:spPr>
        <a:xfrm>
          <a:off x="5185787" y="2195186"/>
          <a:ext cx="1440246" cy="576098"/>
        </a:xfrm>
        <a:prstGeom prst="chevron">
          <a:avLst/>
        </a:prstGeom>
        <a:gradFill rotWithShape="0">
          <a:gsLst>
            <a:gs pos="0">
              <a:schemeClr val="accent6">
                <a:shade val="50000"/>
                <a:hueOff val="368424"/>
                <a:satOff val="-16105"/>
                <a:lumOff val="43961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6">
                <a:shade val="50000"/>
                <a:hueOff val="368424"/>
                <a:satOff val="-16105"/>
                <a:lumOff val="43961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6">
                <a:shade val="50000"/>
                <a:hueOff val="368424"/>
                <a:satOff val="-16105"/>
                <a:lumOff val="43961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Adjust </a:t>
          </a:r>
          <a:r>
            <a:rPr lang="en-US" sz="900" kern="1200" dirty="0" err="1"/>
            <a:t>Dtypes</a:t>
          </a:r>
          <a:endParaRPr lang="en-SG" sz="900" kern="1200" dirty="0"/>
        </a:p>
      </dsp:txBody>
      <dsp:txXfrm>
        <a:off x="5473836" y="2195186"/>
        <a:ext cx="864148" cy="576098"/>
      </dsp:txXfrm>
    </dsp:sp>
    <dsp:sp modelId="{A5B17C80-33B2-460D-A1E0-C9505903FCE5}">
      <dsp:nvSpPr>
        <dsp:cNvPr id="0" name=""/>
        <dsp:cNvSpPr/>
      </dsp:nvSpPr>
      <dsp:spPr>
        <a:xfrm>
          <a:off x="6516679" y="2191326"/>
          <a:ext cx="1440246" cy="576098"/>
        </a:xfrm>
        <a:prstGeom prst="chevron">
          <a:avLst/>
        </a:prstGeom>
        <a:gradFill rotWithShape="0">
          <a:gsLst>
            <a:gs pos="0">
              <a:schemeClr val="accent6">
                <a:shade val="50000"/>
                <a:hueOff val="276318"/>
                <a:satOff val="-12079"/>
                <a:lumOff val="32971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6">
                <a:shade val="50000"/>
                <a:hueOff val="276318"/>
                <a:satOff val="-12079"/>
                <a:lumOff val="32971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6">
                <a:shade val="50000"/>
                <a:hueOff val="276318"/>
                <a:satOff val="-12079"/>
                <a:lumOff val="32971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Remove outliers</a:t>
          </a:r>
          <a:endParaRPr lang="en-SG" sz="900" kern="1200" dirty="0"/>
        </a:p>
      </dsp:txBody>
      <dsp:txXfrm>
        <a:off x="6804728" y="2191326"/>
        <a:ext cx="864148" cy="576098"/>
      </dsp:txXfrm>
    </dsp:sp>
    <dsp:sp modelId="{39250F76-2192-4983-8687-3A22A0264805}">
      <dsp:nvSpPr>
        <dsp:cNvPr id="0" name=""/>
        <dsp:cNvSpPr/>
      </dsp:nvSpPr>
      <dsp:spPr>
        <a:xfrm>
          <a:off x="7812901" y="2191326"/>
          <a:ext cx="1440246" cy="576098"/>
        </a:xfrm>
        <a:prstGeom prst="chevron">
          <a:avLst/>
        </a:prstGeom>
        <a:gradFill rotWithShape="0">
          <a:gsLst>
            <a:gs pos="0">
              <a:schemeClr val="accent6">
                <a:shade val="50000"/>
                <a:hueOff val="184212"/>
                <a:satOff val="-8053"/>
                <a:lumOff val="21981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6">
                <a:shade val="50000"/>
                <a:hueOff val="184212"/>
                <a:satOff val="-8053"/>
                <a:lumOff val="21981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6">
                <a:shade val="50000"/>
                <a:hueOff val="184212"/>
                <a:satOff val="-8053"/>
                <a:lumOff val="21981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Derive columns needed for traditional method</a:t>
          </a:r>
          <a:endParaRPr lang="en-SG" sz="900" kern="1200" dirty="0"/>
        </a:p>
      </dsp:txBody>
      <dsp:txXfrm>
        <a:off x="8100950" y="2191326"/>
        <a:ext cx="864148" cy="576098"/>
      </dsp:txXfrm>
    </dsp:sp>
    <dsp:sp modelId="{469E39DA-16FE-4EAA-AA6C-5ACE4ADEB951}">
      <dsp:nvSpPr>
        <dsp:cNvPr id="0" name=""/>
        <dsp:cNvSpPr/>
      </dsp:nvSpPr>
      <dsp:spPr>
        <a:xfrm>
          <a:off x="9075353" y="2191326"/>
          <a:ext cx="1440246" cy="576098"/>
        </a:xfrm>
        <a:prstGeom prst="chevron">
          <a:avLst/>
        </a:prstGeom>
        <a:gradFill rotWithShape="0">
          <a:gsLst>
            <a:gs pos="0">
              <a:schemeClr val="accent6">
                <a:shade val="50000"/>
                <a:hueOff val="92106"/>
                <a:satOff val="-4026"/>
                <a:lumOff val="1099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6">
                <a:shade val="50000"/>
                <a:hueOff val="92106"/>
                <a:satOff val="-4026"/>
                <a:lumOff val="1099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6">
                <a:shade val="50000"/>
                <a:hueOff val="92106"/>
                <a:satOff val="-4026"/>
                <a:lumOff val="1099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Min Max </a:t>
          </a:r>
          <a:r>
            <a:rPr lang="en-US" sz="900" kern="1200" dirty="0" err="1"/>
            <a:t>Normalise</a:t>
          </a:r>
          <a:endParaRPr lang="en-SG" sz="900" kern="1200" dirty="0"/>
        </a:p>
      </dsp:txBody>
      <dsp:txXfrm>
        <a:off x="9363402" y="2191326"/>
        <a:ext cx="864148" cy="57609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CE42D1-613D-4332-9A19-705EC028E1B3}" type="datetimeFigureOut">
              <a:rPr lang="en-GB" smtClean="0"/>
              <a:t>20/09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41BD37-0194-4D45-8D40-6B5080FA440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71415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767243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30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6968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84548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492750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168029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5605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43105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245330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371853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665712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4326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671670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1480456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89566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77028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25321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83206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i="0" dirty="0">
              <a:solidFill>
                <a:srgbClr val="BDC1C6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18639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87016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40188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41BD37-0194-4D45-8D40-6B5080FA4408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57884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77F839-C01D-5A81-594E-725C6973DC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9E5DE9F-FA2A-F89B-960A-54D5626EC9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3917DD9-5900-B247-1D93-BEC3D01EFF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977988-535B-44F8-BD1E-43F007484824}" type="datetime1">
              <a:rPr lang="en-GB" smtClean="0"/>
              <a:t>20/09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7196EE-FB74-9986-E420-3B9292AFE7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AAE0A0-023B-A937-5554-7C76F26F81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52667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08409E-6970-7CB6-7E58-B0F8AC27CF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15BE440-E79C-EE3A-627E-1EECE96FA8D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5C3741-C94D-B3D6-0B0D-217B8A4DE4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6434D6-22B4-48DB-9FB1-4637EED94B6F}" type="datetime1">
              <a:rPr lang="en-GB" smtClean="0"/>
              <a:t>20/09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4C5AFE-530F-E1DE-6EBA-F9D19BEA23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49A82-7901-9C95-8487-9BC5214086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79582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2FEA1F8-E784-B918-3FB5-1872009B9D2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3D3E07-C9CE-8420-61F5-D8062B4C920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3522E5-2531-2530-6FBB-2E9E0A6B03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5BA85F-474D-4BB0-935A-768BAF8A0B95}" type="datetime1">
              <a:rPr lang="en-GB" smtClean="0"/>
              <a:t>20/09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246E9D-1BA2-5FF6-AD86-24034812CE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989AAC-E447-B7C1-C058-30BF9B4254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78543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14537B-9A71-3232-94CB-6AD06F4F43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815C24-9D69-9C68-29A7-5639652F70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AF81D1-70CE-0EDC-1310-3B9D30BD5D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10176-91FD-46B9-8ACB-34F1364631FA}" type="datetime1">
              <a:rPr lang="en-GB" smtClean="0"/>
              <a:t>20/09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788EAF-5FE1-7154-EF8D-E6963E4F70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E84985-1360-7752-9BEC-1AF33DDD92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73215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0DAF10-5945-FFDE-16EC-B516C3B022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CBDF2E-9A9F-029F-49D1-AB634A944DE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A285A7-F207-6541-980A-37C77C56C1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2D1649-4550-40D4-8BCD-C5FB14D08FC2}" type="datetime1">
              <a:rPr lang="en-GB" smtClean="0"/>
              <a:t>20/09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E4AA50-CFB0-D273-C5A0-47FE39FD58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62984D-AAD7-537C-D39F-1554F9CFCF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5690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FBB04C-6E5E-84BD-8BB0-D3494D438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EC84F1-B7FA-11D8-2723-041E800FFAA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9FF3276-18A9-5836-2FCC-A3458FF6A0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5063D3D-0DFF-2841-EB4D-BE8FD328E8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BE208E-AFA7-4654-8D2F-BEB8F8DA8AB2}" type="datetime1">
              <a:rPr lang="en-GB" smtClean="0"/>
              <a:t>20/09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7E84ED9-D069-C060-55D2-2B9A78F236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574175E-00D1-8778-7169-7927B8BF64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27669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94C348-A26C-FFF2-56E1-EE1599061D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09EB38-8EB8-20B5-39B3-0CB6602633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E5923B0-FAFB-B693-5130-699BD85244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C54D618-F42F-08B1-19E8-715582EEDF0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C5DC93A-39C5-2A15-5E29-723B01AA459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A5BB30C-76D9-4E51-F065-1582D2F8CB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320988-67FA-4094-A298-8BFDF7933345}" type="datetime1">
              <a:rPr lang="en-GB" smtClean="0"/>
              <a:t>20/09/2022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DB9A5E5-E079-5CF0-D302-4413498D74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B10946-B909-1CFD-AB08-22451EF316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08255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EB1767-4F44-3DD2-0A3C-3B7B201764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AFE5635-0C0C-3B73-E8AF-77306855A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D734E0-BB75-480C-A54C-6C8EB1BF0CCF}" type="datetime1">
              <a:rPr lang="en-GB" smtClean="0"/>
              <a:t>20/09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376B22-A9E1-6B02-BCE7-277267ED75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FD2D507-0328-DDA2-B4FF-AE9A59E2B3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58846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5430839-294A-BEA7-5D57-00E6E5784C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A68D07-0D24-4C56-AA58-C30FA8BA2360}" type="datetime1">
              <a:rPr lang="en-GB" smtClean="0"/>
              <a:t>20/09/2022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4091789-6A7F-666E-6121-97C097EE6B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9C036A-F366-CEA9-F6C5-71DCC2E97C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23216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36CCE8-7C92-213A-4D7B-058E6CA69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E0B1A6-9DE7-3FEF-AE7A-40F0CA4790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AAA931-6259-45D9-B2CF-6E0F0F0830E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B658E91-823B-98E4-E128-8064CA5DC8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9D6FA0-200F-4E5F-A64E-B5ECFF55DF02}" type="datetime1">
              <a:rPr lang="en-GB" smtClean="0"/>
              <a:t>20/09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4D5DDD-0F53-EB2D-6D36-6B5A7809BA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F28FD3A-5DA9-10DB-0B1F-B95716E50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90789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34CCC-7990-EC45-FE00-0362140208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333527C-D21C-12B0-037F-57E5BF0B01E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F4E5CE-870F-024A-7488-8C71B4CE9F4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EE3E801-EF4A-54DE-4A10-3050413C01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9545CB-1863-4CCF-9BE3-6709BC7C108F}" type="datetime1">
              <a:rPr lang="en-GB" smtClean="0"/>
              <a:t>20/09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7DA057A-8AF5-697A-7A0D-EB82A12692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41A1506-1DCA-6B8D-AAD6-7087D2CC9B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17702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7334A3E-2D7E-4E2E-65D9-B72CA26CB0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692067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7" imgH="348" progId="TCLayout.ActiveDocument.1">
                  <p:embed/>
                </p:oleObj>
              </mc:Choice>
              <mc:Fallback>
                <p:oleObj name="think-cell Slide" r:id="rId1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0E574E-4CC8-C90C-0DF0-071676EA0F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BF2BE1-117E-54A1-DD3D-CE08F5FAE1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93DA08-F362-1840-DA8F-9BE48521F2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65E8F7-4594-4563-86BE-DE955395A6A4}" type="datetime1">
              <a:rPr lang="en-GB" smtClean="0"/>
              <a:t>20/09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3C0F61-64D1-5402-E11F-AD48D1BB71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3C24DF-5B71-B52C-6833-D164BDA681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47C1C1-E03C-4710-B8F6-102B1D3AFD6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23896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10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10" Type="http://schemas.openxmlformats.org/officeDocument/2006/relationships/image" Target="../media/image13.png"/><Relationship Id="rId4" Type="http://schemas.openxmlformats.org/officeDocument/2006/relationships/oleObject" Target="../embeddings/oleObject17.bin"/><Relationship Id="rId9" Type="http://schemas.openxmlformats.org/officeDocument/2006/relationships/image" Target="../media/image11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10" Type="http://schemas.openxmlformats.org/officeDocument/2006/relationships/image" Target="../media/image17.png"/><Relationship Id="rId4" Type="http://schemas.openxmlformats.org/officeDocument/2006/relationships/oleObject" Target="../embeddings/oleObject18.bin"/><Relationship Id="rId9" Type="http://schemas.openxmlformats.org/officeDocument/2006/relationships/image" Target="../media/image1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notesSlide" Target="../notesSlides/notesSlide4.xml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diagramQuickStyle" Target="../diagrams/quickStyle1.xml"/><Relationship Id="rId11" Type="http://schemas.openxmlformats.org/officeDocument/2006/relationships/image" Target="../media/image2.png"/><Relationship Id="rId5" Type="http://schemas.openxmlformats.org/officeDocument/2006/relationships/diagramLayout" Target="../diagrams/layout1.xml"/><Relationship Id="rId10" Type="http://schemas.openxmlformats.org/officeDocument/2006/relationships/image" Target="../media/image1.emf"/><Relationship Id="rId4" Type="http://schemas.openxmlformats.org/officeDocument/2006/relationships/diagramData" Target="../diagrams/data1.xml"/><Relationship Id="rId9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notesSlide" Target="../notesSlides/notesSlide5.xml"/><Relationship Id="rId7" Type="http://schemas.openxmlformats.org/officeDocument/2006/relationships/diagramColors" Target="../diagrams/colors2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diagramQuickStyle" Target="../diagrams/quickStyle2.xml"/><Relationship Id="rId11" Type="http://schemas.openxmlformats.org/officeDocument/2006/relationships/image" Target="../media/image40.png"/><Relationship Id="rId5" Type="http://schemas.openxmlformats.org/officeDocument/2006/relationships/diagramLayout" Target="../diagrams/layout2.xml"/><Relationship Id="rId10" Type="http://schemas.openxmlformats.org/officeDocument/2006/relationships/image" Target="../media/image1.emf"/><Relationship Id="rId4" Type="http://schemas.openxmlformats.org/officeDocument/2006/relationships/diagramData" Target="../diagrams/data2.xml"/><Relationship Id="rId9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EFA312C-0CD1-34F2-F3B7-6400D93F89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0717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CC7AAFB-84D2-4172-B3D3-52F769E7AA2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6492875"/>
            <a:ext cx="1712096" cy="365125"/>
          </a:xfrm>
        </p:spPr>
        <p:txBody>
          <a:bodyPr vert="horz">
            <a:normAutofit/>
          </a:bodyPr>
          <a:lstStyle/>
          <a:p>
            <a:r>
              <a:rPr lang="en-GB" sz="1400" dirty="0"/>
              <a:t>ANL488 Presenta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66DA114-333B-A423-9D78-B36A4D3E818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Tan Wen Xuan</a:t>
            </a:r>
          </a:p>
          <a:p>
            <a:r>
              <a:rPr lang="en-GB" dirty="0"/>
              <a:t>Z1981074</a:t>
            </a:r>
          </a:p>
          <a:p>
            <a:r>
              <a:rPr lang="en-GB" dirty="0"/>
              <a:t>Presentation date: 200922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6CE70C62-CDC0-8F1B-04DD-1D47A244D0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9F3954-187E-8613-4E85-EACADF17EC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Slide </a:t>
            </a:r>
            <a:fld id="{EA47C1C1-E03C-4710-B8F6-102B1D3AFD6F}" type="slidenum">
              <a:rPr lang="en-GB" smtClean="0"/>
              <a:t>1</a:t>
            </a:fld>
            <a:r>
              <a:rPr lang="en-GB" dirty="0"/>
              <a:t> of 21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DB770C62-F6D7-03B5-1A8D-4C74F822F0E8}"/>
              </a:ext>
            </a:extLst>
          </p:cNvPr>
          <p:cNvSpPr txBox="1">
            <a:spLocks/>
          </p:cNvSpPr>
          <p:nvPr/>
        </p:nvSpPr>
        <p:spPr>
          <a:xfrm>
            <a:off x="286603" y="1753867"/>
            <a:ext cx="11163869" cy="16557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GB" sz="3200" dirty="0"/>
              <a:t>Evaluating Clustering Algorithms for </a:t>
            </a:r>
          </a:p>
          <a:p>
            <a:pPr lvl="1"/>
            <a:r>
              <a:rPr lang="en-GB" sz="3200" dirty="0"/>
              <a:t>Prediction of Rock Type </a:t>
            </a:r>
          </a:p>
          <a:p>
            <a:pPr lvl="1"/>
            <a:r>
              <a:rPr lang="en-GB" sz="3200" dirty="0"/>
              <a:t>for Oil and Gas Applications across Different Geographies</a:t>
            </a:r>
          </a:p>
        </p:txBody>
      </p:sp>
    </p:spTree>
    <p:extLst>
      <p:ext uri="{BB962C8B-B14F-4D97-AF65-F5344CB8AC3E}">
        <p14:creationId xmlns:p14="http://schemas.microsoft.com/office/powerpoint/2010/main" val="3250888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28DD3B-FC3A-BB6A-0B7E-ED4111D2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18347"/>
            <a:ext cx="10515600" cy="488315"/>
          </a:xfrm>
        </p:spPr>
        <p:txBody>
          <a:bodyPr vert="horz">
            <a:noAutofit/>
          </a:bodyPr>
          <a:lstStyle/>
          <a:p>
            <a:r>
              <a:rPr lang="en-GB" sz="2400" dirty="0"/>
              <a:t>Methods Employ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169F97-F06D-3347-4110-1AE71FAB11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97649" y="1247774"/>
            <a:ext cx="2686054" cy="365125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en-GB" sz="1600" dirty="0"/>
              <a:t>DBSCAN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4AB267-D915-308A-5F67-39086B443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9E729F8-6383-A4CC-F44D-95B6919E0F66}"/>
              </a:ext>
            </a:extLst>
          </p:cNvPr>
          <p:cNvCxnSpPr/>
          <p:nvPr/>
        </p:nvCxnSpPr>
        <p:spPr>
          <a:xfrm>
            <a:off x="0" y="1107255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8" name="Title 1">
            <a:extLst>
              <a:ext uri="{FF2B5EF4-FFF2-40B4-BE49-F238E27FC236}">
                <a16:creationId xmlns:a16="http://schemas.microsoft.com/office/drawing/2014/main" id="{75370FBE-AF75-1AE5-45AA-751B0E8873B2}"/>
              </a:ext>
            </a:extLst>
          </p:cNvPr>
          <p:cNvSpPr txBox="1">
            <a:spLocks/>
          </p:cNvSpPr>
          <p:nvPr/>
        </p:nvSpPr>
        <p:spPr>
          <a:xfrm>
            <a:off x="0" y="6492875"/>
            <a:ext cx="1712096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400"/>
              <a:t>ANL488 Presentation</a:t>
            </a:r>
            <a:endParaRPr lang="en-GB" sz="1400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018AD76-0433-5003-F3CF-F756ED6B9F30}"/>
              </a:ext>
            </a:extLst>
          </p:cNvPr>
          <p:cNvSpPr txBox="1">
            <a:spLocks/>
          </p:cNvSpPr>
          <p:nvPr/>
        </p:nvSpPr>
        <p:spPr>
          <a:xfrm>
            <a:off x="1955870" y="1247774"/>
            <a:ext cx="2028163" cy="3651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GB" sz="1600" dirty="0"/>
              <a:t>Self Organising Maps (SOM) + </a:t>
            </a:r>
            <a:r>
              <a:rPr lang="en-GB" sz="1600" dirty="0" err="1"/>
              <a:t>KMeans</a:t>
            </a:r>
            <a:endParaRPr lang="en-GB" sz="1600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FEF17E9-00D8-DA5C-62D9-1B6D34F66B0C}"/>
              </a:ext>
            </a:extLst>
          </p:cNvPr>
          <p:cNvCxnSpPr/>
          <p:nvPr/>
        </p:nvCxnSpPr>
        <p:spPr>
          <a:xfrm>
            <a:off x="6177797" y="1390190"/>
            <a:ext cx="0" cy="4684191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0" name="Speech Bubble: Rectangle 119">
            <a:extLst>
              <a:ext uri="{FF2B5EF4-FFF2-40B4-BE49-F238E27FC236}">
                <a16:creationId xmlns:a16="http://schemas.microsoft.com/office/drawing/2014/main" id="{23217CD4-2AAF-711D-7FA3-7FA980C28940}"/>
              </a:ext>
            </a:extLst>
          </p:cNvPr>
          <p:cNvSpPr/>
          <p:nvPr/>
        </p:nvSpPr>
        <p:spPr>
          <a:xfrm>
            <a:off x="2110565" y="2237264"/>
            <a:ext cx="764352" cy="745587"/>
          </a:xfrm>
          <a:prstGeom prst="wedgeRectCallout">
            <a:avLst>
              <a:gd name="adj1" fmla="val 11615"/>
              <a:gd name="adj2" fmla="val 66273"/>
            </a:avLst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50" dirty="0"/>
              <a:t>Using </a:t>
            </a:r>
            <a:r>
              <a:rPr lang="en-US" sz="1050" dirty="0" err="1"/>
              <a:t>MiniSOM</a:t>
            </a:r>
            <a:endParaRPr lang="en-SG" sz="1050" dirty="0"/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F16BFAE7-A1F3-F9F6-5B2E-E8964DCACDC6}"/>
              </a:ext>
            </a:extLst>
          </p:cNvPr>
          <p:cNvSpPr/>
          <p:nvPr/>
        </p:nvSpPr>
        <p:spPr>
          <a:xfrm>
            <a:off x="1955073" y="3285282"/>
            <a:ext cx="1550877" cy="365124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SOM </a:t>
            </a:r>
            <a:r>
              <a:rPr lang="en-US" sz="1200" dirty="0" err="1"/>
              <a:t>init</a:t>
            </a:r>
            <a:r>
              <a:rPr lang="en-US" sz="1200" dirty="0"/>
              <a:t> (10 X 10 grid) </a:t>
            </a:r>
            <a:endParaRPr lang="en-SG" sz="1200" dirty="0"/>
          </a:p>
        </p:txBody>
      </p:sp>
      <p:sp>
        <p:nvSpPr>
          <p:cNvPr id="21" name="Speech Bubble: Rectangle 20">
            <a:extLst>
              <a:ext uri="{FF2B5EF4-FFF2-40B4-BE49-F238E27FC236}">
                <a16:creationId xmlns:a16="http://schemas.microsoft.com/office/drawing/2014/main" id="{A58E4047-6FAE-4F89-115C-AC641E93A7AF}"/>
              </a:ext>
            </a:extLst>
          </p:cNvPr>
          <p:cNvSpPr/>
          <p:nvPr/>
        </p:nvSpPr>
        <p:spPr>
          <a:xfrm>
            <a:off x="3505950" y="2343499"/>
            <a:ext cx="764352" cy="745587"/>
          </a:xfrm>
          <a:prstGeom prst="wedgeRectCallout">
            <a:avLst>
              <a:gd name="adj1" fmla="val -50961"/>
              <a:gd name="adj2" fmla="val 68160"/>
            </a:avLst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50" dirty="0"/>
              <a:t>100 Clusters. Each row is 1 input</a:t>
            </a:r>
            <a:endParaRPr lang="en-SG" sz="1050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AD643C7-4E47-F245-AB87-BADFB2499D3B}"/>
              </a:ext>
            </a:extLst>
          </p:cNvPr>
          <p:cNvSpPr/>
          <p:nvPr/>
        </p:nvSpPr>
        <p:spPr>
          <a:xfrm>
            <a:off x="1955072" y="3732286"/>
            <a:ext cx="1550877" cy="365124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Train Data</a:t>
            </a:r>
            <a:endParaRPr lang="en-SG" sz="1200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0BFAE11-A5D1-1688-8FCD-ABDEC105799A}"/>
              </a:ext>
            </a:extLst>
          </p:cNvPr>
          <p:cNvSpPr/>
          <p:nvPr/>
        </p:nvSpPr>
        <p:spPr>
          <a:xfrm>
            <a:off x="1955071" y="4181627"/>
            <a:ext cx="1550877" cy="365124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Obtain winner neurons</a:t>
            </a:r>
            <a:endParaRPr lang="en-SG" sz="1200" dirty="0"/>
          </a:p>
        </p:txBody>
      </p:sp>
      <p:sp>
        <p:nvSpPr>
          <p:cNvPr id="36" name="Speech Bubble: Rectangle 35">
            <a:extLst>
              <a:ext uri="{FF2B5EF4-FFF2-40B4-BE49-F238E27FC236}">
                <a16:creationId xmlns:a16="http://schemas.microsoft.com/office/drawing/2014/main" id="{3809B882-554D-5581-2673-6A2F3F699B79}"/>
              </a:ext>
            </a:extLst>
          </p:cNvPr>
          <p:cNvSpPr/>
          <p:nvPr/>
        </p:nvSpPr>
        <p:spPr>
          <a:xfrm>
            <a:off x="3568630" y="3447928"/>
            <a:ext cx="764352" cy="745587"/>
          </a:xfrm>
          <a:prstGeom prst="wedgeRectCallout">
            <a:avLst>
              <a:gd name="adj1" fmla="val -50961"/>
              <a:gd name="adj2" fmla="val 68160"/>
            </a:avLst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50" dirty="0"/>
              <a:t>Each row belongs to 1/100 neurons</a:t>
            </a:r>
            <a:endParaRPr lang="en-SG" sz="1050" dirty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3B56AD1-6204-FBE0-6358-FF2453535001}"/>
              </a:ext>
            </a:extLst>
          </p:cNvPr>
          <p:cNvSpPr/>
          <p:nvPr/>
        </p:nvSpPr>
        <p:spPr>
          <a:xfrm>
            <a:off x="1954260" y="4644728"/>
            <a:ext cx="1550877" cy="36512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KMeans</a:t>
            </a:r>
            <a:endParaRPr lang="en-SG" sz="1200" dirty="0"/>
          </a:p>
        </p:txBody>
      </p: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768DD2C2-3E2F-22AC-46F9-5222F53870CC}"/>
              </a:ext>
            </a:extLst>
          </p:cNvPr>
          <p:cNvCxnSpPr>
            <a:stCxn id="122" idx="2"/>
            <a:endCxn id="29" idx="0"/>
          </p:cNvCxnSpPr>
          <p:nvPr/>
        </p:nvCxnSpPr>
        <p:spPr>
          <a:xfrm flipH="1">
            <a:off x="2730511" y="3650406"/>
            <a:ext cx="1" cy="818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64428E9E-EC10-1E53-D44A-C3DCA801646D}"/>
              </a:ext>
            </a:extLst>
          </p:cNvPr>
          <p:cNvCxnSpPr>
            <a:stCxn id="29" idx="2"/>
            <a:endCxn id="29" idx="2"/>
          </p:cNvCxnSpPr>
          <p:nvPr/>
        </p:nvCxnSpPr>
        <p:spPr>
          <a:xfrm flipH="1">
            <a:off x="2730510" y="4097410"/>
            <a:ext cx="1" cy="842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864F9C66-8EAD-4572-7D06-9CDE151DBE45}"/>
              </a:ext>
            </a:extLst>
          </p:cNvPr>
          <p:cNvCxnSpPr>
            <a:stCxn id="33" idx="2"/>
            <a:endCxn id="39" idx="0"/>
          </p:cNvCxnSpPr>
          <p:nvPr/>
        </p:nvCxnSpPr>
        <p:spPr>
          <a:xfrm flipH="1">
            <a:off x="2729699" y="4546751"/>
            <a:ext cx="811" cy="9797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277B0171-EAA5-E52E-9619-83A1F74DF67B}"/>
              </a:ext>
            </a:extLst>
          </p:cNvPr>
          <p:cNvSpPr/>
          <p:nvPr/>
        </p:nvSpPr>
        <p:spPr>
          <a:xfrm>
            <a:off x="7766040" y="1971860"/>
            <a:ext cx="1380449" cy="617228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KNN to find average distance between points</a:t>
            </a:r>
            <a:endParaRPr lang="en-SG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5E2114C-C40E-D7F5-97BE-5E7B51397F1F}"/>
              </a:ext>
            </a:extLst>
          </p:cNvPr>
          <p:cNvSpPr/>
          <p:nvPr/>
        </p:nvSpPr>
        <p:spPr>
          <a:xfrm>
            <a:off x="7766039" y="2693139"/>
            <a:ext cx="1380449" cy="365125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Sort by increasing </a:t>
            </a:r>
            <a:r>
              <a:rPr lang="en-US" sz="1200" dirty="0" err="1"/>
              <a:t>dist</a:t>
            </a:r>
            <a:endParaRPr lang="en-SG" sz="1200" dirty="0"/>
          </a:p>
        </p:txBody>
      </p:sp>
      <p:sp>
        <p:nvSpPr>
          <p:cNvPr id="25" name="Speech Bubble: Rectangle 24">
            <a:extLst>
              <a:ext uri="{FF2B5EF4-FFF2-40B4-BE49-F238E27FC236}">
                <a16:creationId xmlns:a16="http://schemas.microsoft.com/office/drawing/2014/main" id="{1CCADF46-FFB0-78DA-07A7-67B404ADFD27}"/>
              </a:ext>
            </a:extLst>
          </p:cNvPr>
          <p:cNvSpPr/>
          <p:nvPr/>
        </p:nvSpPr>
        <p:spPr>
          <a:xfrm>
            <a:off x="9603233" y="4368649"/>
            <a:ext cx="882158" cy="745587"/>
          </a:xfrm>
          <a:prstGeom prst="wedgeRectCallout">
            <a:avLst>
              <a:gd name="adj1" fmla="val -22231"/>
              <a:gd name="adj2" fmla="val -64637"/>
            </a:avLst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50" dirty="0"/>
              <a:t>Exclude noise points</a:t>
            </a:r>
            <a:endParaRPr lang="en-SG" sz="105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980C3C1-C369-B32B-54E0-7989938E725F}"/>
              </a:ext>
            </a:extLst>
          </p:cNvPr>
          <p:cNvSpPr/>
          <p:nvPr/>
        </p:nvSpPr>
        <p:spPr>
          <a:xfrm>
            <a:off x="7766038" y="3162315"/>
            <a:ext cx="1380449" cy="365125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Plot point vs distance</a:t>
            </a:r>
            <a:endParaRPr lang="en-SG" sz="1200" dirty="0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708F8EC-B5F3-3F81-D533-1B476F4C3C09}"/>
              </a:ext>
            </a:extLst>
          </p:cNvPr>
          <p:cNvSpPr/>
          <p:nvPr/>
        </p:nvSpPr>
        <p:spPr>
          <a:xfrm>
            <a:off x="7766037" y="3619447"/>
            <a:ext cx="1380449" cy="365125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Use kneed to max curve distance</a:t>
            </a:r>
            <a:endParaRPr lang="en-SG" sz="1200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FE4EB58F-4A44-D117-EAA7-42625B61BEFC}"/>
              </a:ext>
            </a:extLst>
          </p:cNvPr>
          <p:cNvSpPr/>
          <p:nvPr/>
        </p:nvSpPr>
        <p:spPr>
          <a:xfrm>
            <a:off x="7766036" y="4102902"/>
            <a:ext cx="1380449" cy="365125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Value used as epsilon</a:t>
            </a:r>
            <a:endParaRPr lang="en-SG" sz="1200" dirty="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96C77175-F87F-E719-B13D-5E126A70B00F}"/>
              </a:ext>
            </a:extLst>
          </p:cNvPr>
          <p:cNvSpPr/>
          <p:nvPr/>
        </p:nvSpPr>
        <p:spPr>
          <a:xfrm>
            <a:off x="7438503" y="4549556"/>
            <a:ext cx="2035513" cy="568192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Init DBSCAN </a:t>
            </a:r>
            <a:r>
              <a:rPr lang="en-US" sz="1200" dirty="0" err="1"/>
              <a:t>min_sample</a:t>
            </a:r>
            <a:r>
              <a:rPr lang="en-US" sz="1200" dirty="0"/>
              <a:t> = 70 and </a:t>
            </a:r>
            <a:r>
              <a:rPr lang="en-US" sz="1200" dirty="0" err="1"/>
              <a:t>epison</a:t>
            </a:r>
            <a:r>
              <a:rPr lang="en-US" sz="1200" dirty="0"/>
              <a:t> from step above</a:t>
            </a:r>
            <a:endParaRPr lang="en-SG" sz="1200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EDD4C52E-3A0A-8AC3-9A7B-CFB7466D736E}"/>
              </a:ext>
            </a:extLst>
          </p:cNvPr>
          <p:cNvSpPr/>
          <p:nvPr/>
        </p:nvSpPr>
        <p:spPr>
          <a:xfrm>
            <a:off x="9619719" y="2154224"/>
            <a:ext cx="1380449" cy="365125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Fit data</a:t>
            </a:r>
            <a:endParaRPr lang="en-SG" sz="1200" dirty="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0EBAAE0F-EDEB-935C-66AA-F8D8ECA72B09}"/>
              </a:ext>
            </a:extLst>
          </p:cNvPr>
          <p:cNvSpPr/>
          <p:nvPr/>
        </p:nvSpPr>
        <p:spPr>
          <a:xfrm>
            <a:off x="9612858" y="3059122"/>
            <a:ext cx="1396935" cy="663831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Tag cluster labels to unnormalized data</a:t>
            </a:r>
            <a:endParaRPr lang="en-SG" sz="1200" dirty="0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7F2ABAEB-452B-4429-1E70-C610C919765A}"/>
              </a:ext>
            </a:extLst>
          </p:cNvPr>
          <p:cNvSpPr/>
          <p:nvPr/>
        </p:nvSpPr>
        <p:spPr>
          <a:xfrm>
            <a:off x="9619719" y="3830036"/>
            <a:ext cx="1380449" cy="372793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Generate cluster summary</a:t>
            </a:r>
            <a:endParaRPr lang="en-SG" sz="1200" dirty="0"/>
          </a:p>
        </p:txBody>
      </p:sp>
      <p:sp>
        <p:nvSpPr>
          <p:cNvPr id="62" name="Speech Bubble: Rectangle 61">
            <a:extLst>
              <a:ext uri="{FF2B5EF4-FFF2-40B4-BE49-F238E27FC236}">
                <a16:creationId xmlns:a16="http://schemas.microsoft.com/office/drawing/2014/main" id="{EED95569-95AA-96A9-6AB8-1B4B14CCA5A0}"/>
              </a:ext>
            </a:extLst>
          </p:cNvPr>
          <p:cNvSpPr/>
          <p:nvPr/>
        </p:nvSpPr>
        <p:spPr>
          <a:xfrm>
            <a:off x="6563052" y="1582736"/>
            <a:ext cx="882158" cy="745587"/>
          </a:xfrm>
          <a:prstGeom prst="wedgeRectCallout">
            <a:avLst>
              <a:gd name="adj1" fmla="val 89577"/>
              <a:gd name="adj2" fmla="val 42847"/>
            </a:avLst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50" dirty="0"/>
              <a:t>10 </a:t>
            </a:r>
            <a:r>
              <a:rPr lang="en-US" sz="1050" dirty="0" err="1"/>
              <a:t>neighbours</a:t>
            </a:r>
            <a:endParaRPr lang="en-SG" sz="1050" dirty="0"/>
          </a:p>
        </p:txBody>
      </p: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5E7C9CA8-E6C3-9DD8-3993-9BAB8222D8C5}"/>
              </a:ext>
            </a:extLst>
          </p:cNvPr>
          <p:cNvCxnSpPr>
            <a:stCxn id="10" idx="2"/>
            <a:endCxn id="18" idx="0"/>
          </p:cNvCxnSpPr>
          <p:nvPr/>
        </p:nvCxnSpPr>
        <p:spPr>
          <a:xfrm flipH="1">
            <a:off x="8456264" y="2589088"/>
            <a:ext cx="1" cy="1040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CF36D0CA-1CB4-3496-67DD-75A0C2D7EFC1}"/>
              </a:ext>
            </a:extLst>
          </p:cNvPr>
          <p:cNvCxnSpPr>
            <a:stCxn id="18" idx="2"/>
            <a:endCxn id="31" idx="0"/>
          </p:cNvCxnSpPr>
          <p:nvPr/>
        </p:nvCxnSpPr>
        <p:spPr>
          <a:xfrm flipH="1">
            <a:off x="8456263" y="3058264"/>
            <a:ext cx="1" cy="1040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F53C15E9-E4F0-8587-7A89-C5E2DF9E5948}"/>
              </a:ext>
            </a:extLst>
          </p:cNvPr>
          <p:cNvCxnSpPr>
            <a:stCxn id="31" idx="2"/>
            <a:endCxn id="41" idx="0"/>
          </p:cNvCxnSpPr>
          <p:nvPr/>
        </p:nvCxnSpPr>
        <p:spPr>
          <a:xfrm flipH="1">
            <a:off x="8456262" y="3527440"/>
            <a:ext cx="1" cy="9200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B013F007-8866-8233-9823-AAC29C849665}"/>
              </a:ext>
            </a:extLst>
          </p:cNvPr>
          <p:cNvCxnSpPr>
            <a:stCxn id="41" idx="2"/>
            <a:endCxn id="43" idx="0"/>
          </p:cNvCxnSpPr>
          <p:nvPr/>
        </p:nvCxnSpPr>
        <p:spPr>
          <a:xfrm flipH="1">
            <a:off x="8456261" y="3984572"/>
            <a:ext cx="1" cy="1183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C78D636C-83C6-65D2-252E-36A46E14314C}"/>
              </a:ext>
            </a:extLst>
          </p:cNvPr>
          <p:cNvCxnSpPr>
            <a:cxnSpLocks/>
            <a:endCxn id="46" idx="0"/>
          </p:cNvCxnSpPr>
          <p:nvPr/>
        </p:nvCxnSpPr>
        <p:spPr>
          <a:xfrm>
            <a:off x="8456260" y="4368649"/>
            <a:ext cx="0" cy="18090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" name="Connector: Elbow 96">
            <a:extLst>
              <a:ext uri="{FF2B5EF4-FFF2-40B4-BE49-F238E27FC236}">
                <a16:creationId xmlns:a16="http://schemas.microsoft.com/office/drawing/2014/main" id="{F1BA423D-1025-CB91-045B-8A1CE222703B}"/>
              </a:ext>
            </a:extLst>
          </p:cNvPr>
          <p:cNvCxnSpPr>
            <a:stCxn id="46" idx="2"/>
            <a:endCxn id="48" idx="0"/>
          </p:cNvCxnSpPr>
          <p:nvPr/>
        </p:nvCxnSpPr>
        <p:spPr>
          <a:xfrm rot="5400000" flipH="1" flipV="1">
            <a:off x="7901340" y="2709144"/>
            <a:ext cx="2963524" cy="1853684"/>
          </a:xfrm>
          <a:prstGeom prst="bentConnector5">
            <a:avLst>
              <a:gd name="adj1" fmla="val -7714"/>
              <a:gd name="adj2" fmla="val 58835"/>
              <a:gd name="adj3" fmla="val 107714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1" name="Straight Arrow Connector 100">
            <a:extLst>
              <a:ext uri="{FF2B5EF4-FFF2-40B4-BE49-F238E27FC236}">
                <a16:creationId xmlns:a16="http://schemas.microsoft.com/office/drawing/2014/main" id="{15A9D2EB-6BC5-899D-4953-2ED222D8AF4E}"/>
              </a:ext>
            </a:extLst>
          </p:cNvPr>
          <p:cNvCxnSpPr>
            <a:cxnSpLocks/>
            <a:stCxn id="48" idx="2"/>
            <a:endCxn id="4" idx="0"/>
          </p:cNvCxnSpPr>
          <p:nvPr/>
        </p:nvCxnSpPr>
        <p:spPr>
          <a:xfrm flipH="1">
            <a:off x="10309942" y="2519349"/>
            <a:ext cx="2" cy="850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1FC3764C-3B87-9BCA-6D4F-41453294D200}"/>
              </a:ext>
            </a:extLst>
          </p:cNvPr>
          <p:cNvCxnSpPr>
            <a:stCxn id="54" idx="2"/>
            <a:endCxn id="58" idx="0"/>
          </p:cNvCxnSpPr>
          <p:nvPr/>
        </p:nvCxnSpPr>
        <p:spPr>
          <a:xfrm flipH="1">
            <a:off x="10309944" y="3722953"/>
            <a:ext cx="1382" cy="1070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F9AABE14-6865-5B99-91B9-98D924DDF1A9}"/>
              </a:ext>
            </a:extLst>
          </p:cNvPr>
          <p:cNvSpPr/>
          <p:nvPr/>
        </p:nvSpPr>
        <p:spPr>
          <a:xfrm>
            <a:off x="9619720" y="2604421"/>
            <a:ext cx="1380444" cy="365125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Get the different Metric values</a:t>
            </a:r>
            <a:endParaRPr lang="en-SG" sz="1200" dirty="0"/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59204B10-27F6-935C-4613-067A7FC27FA8}"/>
              </a:ext>
            </a:extLst>
          </p:cNvPr>
          <p:cNvCxnSpPr>
            <a:stCxn id="4" idx="2"/>
            <a:endCxn id="54" idx="0"/>
          </p:cNvCxnSpPr>
          <p:nvPr/>
        </p:nvCxnSpPr>
        <p:spPr>
          <a:xfrm>
            <a:off x="10309942" y="2969546"/>
            <a:ext cx="1384" cy="895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CECEC7BA-9EC2-D579-698D-AEB4978A69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r>
              <a:rPr lang="en-GB" dirty="0"/>
              <a:t>Slide </a:t>
            </a:r>
            <a:fld id="{EA47C1C1-E03C-4710-B8F6-102B1D3AFD6F}" type="slidenum">
              <a:rPr lang="en-GB" smtClean="0"/>
              <a:t>10</a:t>
            </a:fld>
            <a:r>
              <a:rPr lang="en-GB" dirty="0"/>
              <a:t> of 21</a:t>
            </a:r>
          </a:p>
        </p:txBody>
      </p:sp>
    </p:spTree>
    <p:extLst>
      <p:ext uri="{BB962C8B-B14F-4D97-AF65-F5344CB8AC3E}">
        <p14:creationId xmlns:p14="http://schemas.microsoft.com/office/powerpoint/2010/main" val="31068916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28DD3B-FC3A-BB6A-0B7E-ED4111D2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18347"/>
            <a:ext cx="10515600" cy="488315"/>
          </a:xfrm>
        </p:spPr>
        <p:txBody>
          <a:bodyPr vert="horz">
            <a:noAutofit/>
          </a:bodyPr>
          <a:lstStyle/>
          <a:p>
            <a:r>
              <a:rPr lang="en-GB" sz="2400" dirty="0"/>
              <a:t>Training and Visualis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169F97-F06D-3347-4110-1AE71FAB11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10491"/>
            <a:ext cx="10515600" cy="4966472"/>
          </a:xfrm>
        </p:spPr>
        <p:txBody>
          <a:bodyPr>
            <a:normAutofit/>
          </a:bodyPr>
          <a:lstStyle/>
          <a:p>
            <a:r>
              <a:rPr lang="en-GB" sz="2000" dirty="0"/>
              <a:t>Different method’s modelling and visualisation</a:t>
            </a:r>
          </a:p>
          <a:p>
            <a:r>
              <a:rPr lang="en-GB" sz="2000" dirty="0"/>
              <a:t>Scatterplots done for visualisation</a:t>
            </a:r>
          </a:p>
          <a:p>
            <a:r>
              <a:rPr lang="en-GB" sz="2000" dirty="0"/>
              <a:t>Cluster labelling are fixed with a specific colour</a:t>
            </a:r>
          </a:p>
          <a:p>
            <a:endParaRPr lang="en-GB" sz="2000" dirty="0"/>
          </a:p>
          <a:p>
            <a:endParaRPr lang="en-GB" sz="2000" dirty="0"/>
          </a:p>
          <a:p>
            <a:r>
              <a:rPr lang="en-GB" sz="2000" dirty="0"/>
              <a:t>Clusters re-ordering was attempted for comparison</a:t>
            </a:r>
          </a:p>
          <a:p>
            <a:r>
              <a:rPr lang="en-GB" sz="2000" dirty="0"/>
              <a:t>Visualisation with 1000 sample data</a:t>
            </a:r>
          </a:p>
          <a:p>
            <a:r>
              <a:rPr lang="en-GB" sz="2000" dirty="0"/>
              <a:t>Y-axis (permeability) log scaled to remove skew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FC6FB-FB45-6B94-3BE8-47B466BF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26414" y="6300153"/>
            <a:ext cx="2743200" cy="365125"/>
          </a:xfrm>
        </p:spPr>
        <p:txBody>
          <a:bodyPr/>
          <a:lstStyle/>
          <a:p>
            <a:r>
              <a:rPr lang="en-GB" dirty="0"/>
              <a:t>Slide </a:t>
            </a:r>
            <a:fld id="{EA47C1C1-E03C-4710-B8F6-102B1D3AFD6F}" type="slidenum">
              <a:rPr lang="en-GB" smtClean="0"/>
              <a:t>11</a:t>
            </a:fld>
            <a:r>
              <a:rPr lang="en-GB" dirty="0"/>
              <a:t> of 21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4AB267-D915-308A-5F67-39086B443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9E729F8-6383-A4CC-F44D-95B6919E0F66}"/>
              </a:ext>
            </a:extLst>
          </p:cNvPr>
          <p:cNvCxnSpPr/>
          <p:nvPr/>
        </p:nvCxnSpPr>
        <p:spPr>
          <a:xfrm>
            <a:off x="0" y="1106662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8" name="Title 1">
            <a:extLst>
              <a:ext uri="{FF2B5EF4-FFF2-40B4-BE49-F238E27FC236}">
                <a16:creationId xmlns:a16="http://schemas.microsoft.com/office/drawing/2014/main" id="{75370FBE-AF75-1AE5-45AA-751B0E8873B2}"/>
              </a:ext>
            </a:extLst>
          </p:cNvPr>
          <p:cNvSpPr txBox="1">
            <a:spLocks/>
          </p:cNvSpPr>
          <p:nvPr/>
        </p:nvSpPr>
        <p:spPr>
          <a:xfrm>
            <a:off x="0" y="6492875"/>
            <a:ext cx="1712096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400"/>
              <a:t>ANL488 Presentation</a:t>
            </a:r>
            <a:endParaRPr lang="en-GB" sz="1400" dirty="0"/>
          </a:p>
        </p:txBody>
      </p:sp>
      <p:graphicFrame>
        <p:nvGraphicFramePr>
          <p:cNvPr id="18" name="Table 18">
            <a:extLst>
              <a:ext uri="{FF2B5EF4-FFF2-40B4-BE49-F238E27FC236}">
                <a16:creationId xmlns:a16="http://schemas.microsoft.com/office/drawing/2014/main" id="{E01CAEFD-B59D-2D45-D464-99BCBA9A14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8797336"/>
              </p:ext>
            </p:extLst>
          </p:nvPr>
        </p:nvGraphicFramePr>
        <p:xfrm>
          <a:off x="1075398" y="2359904"/>
          <a:ext cx="7112000" cy="73660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016000">
                  <a:extLst>
                    <a:ext uri="{9D8B030D-6E8A-4147-A177-3AD203B41FA5}">
                      <a16:colId xmlns:a16="http://schemas.microsoft.com/office/drawing/2014/main" val="2587631941"/>
                    </a:ext>
                  </a:extLst>
                </a:gridCol>
                <a:gridCol w="1016000">
                  <a:extLst>
                    <a:ext uri="{9D8B030D-6E8A-4147-A177-3AD203B41FA5}">
                      <a16:colId xmlns:a16="http://schemas.microsoft.com/office/drawing/2014/main" val="4251940230"/>
                    </a:ext>
                  </a:extLst>
                </a:gridCol>
                <a:gridCol w="1016000">
                  <a:extLst>
                    <a:ext uri="{9D8B030D-6E8A-4147-A177-3AD203B41FA5}">
                      <a16:colId xmlns:a16="http://schemas.microsoft.com/office/drawing/2014/main" val="3637122521"/>
                    </a:ext>
                  </a:extLst>
                </a:gridCol>
                <a:gridCol w="1016000">
                  <a:extLst>
                    <a:ext uri="{9D8B030D-6E8A-4147-A177-3AD203B41FA5}">
                      <a16:colId xmlns:a16="http://schemas.microsoft.com/office/drawing/2014/main" val="2213530791"/>
                    </a:ext>
                  </a:extLst>
                </a:gridCol>
                <a:gridCol w="1016000">
                  <a:extLst>
                    <a:ext uri="{9D8B030D-6E8A-4147-A177-3AD203B41FA5}">
                      <a16:colId xmlns:a16="http://schemas.microsoft.com/office/drawing/2014/main" val="3878552044"/>
                    </a:ext>
                  </a:extLst>
                </a:gridCol>
                <a:gridCol w="1016000">
                  <a:extLst>
                    <a:ext uri="{9D8B030D-6E8A-4147-A177-3AD203B41FA5}">
                      <a16:colId xmlns:a16="http://schemas.microsoft.com/office/drawing/2014/main" val="2961409064"/>
                    </a:ext>
                  </a:extLst>
                </a:gridCol>
                <a:gridCol w="1016000">
                  <a:extLst>
                    <a:ext uri="{9D8B030D-6E8A-4147-A177-3AD203B41FA5}">
                      <a16:colId xmlns:a16="http://schemas.microsoft.com/office/drawing/2014/main" val="223622840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dirty="0"/>
                        <a:t>Cluster</a:t>
                      </a:r>
                      <a:endParaRPr lang="en-S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  <a:endParaRPr lang="en-S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  <a:endParaRPr lang="en-S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  <a:endParaRPr lang="en-S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</a:t>
                      </a:r>
                      <a:endParaRPr lang="en-S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</a:t>
                      </a:r>
                      <a:endParaRPr lang="en-S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  <a:endParaRPr lang="en-SG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81254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Colour</a:t>
                      </a:r>
                      <a:endParaRPr lang="en-S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ed</a:t>
                      </a:r>
                      <a:endParaRPr lang="en-S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Blue</a:t>
                      </a:r>
                      <a:endParaRPr lang="en-S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Green</a:t>
                      </a:r>
                      <a:endParaRPr lang="en-S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agenta</a:t>
                      </a:r>
                      <a:endParaRPr lang="en-S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llow</a:t>
                      </a:r>
                      <a:endParaRPr lang="en-S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Black</a:t>
                      </a:r>
                      <a:endParaRPr lang="en-SG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210315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69534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28DD3B-FC3A-BB6A-0B7E-ED4111D2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18347"/>
            <a:ext cx="10515600" cy="488315"/>
          </a:xfrm>
        </p:spPr>
        <p:txBody>
          <a:bodyPr vert="horz">
            <a:noAutofit/>
          </a:bodyPr>
          <a:lstStyle/>
          <a:p>
            <a:r>
              <a:rPr lang="en-GB" sz="2400" dirty="0"/>
              <a:t>Own Implementation of Traditional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169F97-F06D-3347-4110-1AE71FAB11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10491"/>
            <a:ext cx="10515600" cy="4966472"/>
          </a:xfrm>
        </p:spPr>
        <p:txBody>
          <a:bodyPr>
            <a:normAutofit/>
          </a:bodyPr>
          <a:lstStyle/>
          <a:p>
            <a:r>
              <a:rPr lang="en-GB" sz="2000" dirty="0"/>
              <a:t>Iteration 1-10 </a:t>
            </a:r>
          </a:p>
          <a:p>
            <a:r>
              <a:rPr lang="en-GB" sz="2000" dirty="0"/>
              <a:t>Plot corresponding number of LR line</a:t>
            </a:r>
          </a:p>
          <a:p>
            <a:r>
              <a:rPr lang="en-GB" sz="2000" dirty="0"/>
              <a:t>Get average R^2</a:t>
            </a:r>
          </a:p>
          <a:p>
            <a:r>
              <a:rPr lang="en-GB" sz="2000" dirty="0"/>
              <a:t>Compare using R^2 vs Cluster plot</a:t>
            </a:r>
          </a:p>
          <a:p>
            <a:r>
              <a:rPr lang="en-GB" sz="2000" dirty="0"/>
              <a:t>Optimal Cluster of 6 chosen</a:t>
            </a:r>
          </a:p>
          <a:p>
            <a:endParaRPr lang="en-GB" sz="2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FC6FB-FB45-6B94-3BE8-47B466BF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26414" y="6300153"/>
            <a:ext cx="2743200" cy="365125"/>
          </a:xfrm>
        </p:spPr>
        <p:txBody>
          <a:bodyPr/>
          <a:lstStyle/>
          <a:p>
            <a:r>
              <a:rPr lang="en-GB" dirty="0"/>
              <a:t>Slide </a:t>
            </a:r>
            <a:fld id="{EA47C1C1-E03C-4710-B8F6-102B1D3AFD6F}" type="slidenum">
              <a:rPr lang="en-GB" smtClean="0"/>
              <a:t>12</a:t>
            </a:fld>
            <a:r>
              <a:rPr lang="en-GB" dirty="0"/>
              <a:t> of 21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4AB267-D915-308A-5F67-39086B443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9E729F8-6383-A4CC-F44D-95B6919E0F66}"/>
              </a:ext>
            </a:extLst>
          </p:cNvPr>
          <p:cNvCxnSpPr/>
          <p:nvPr/>
        </p:nvCxnSpPr>
        <p:spPr>
          <a:xfrm>
            <a:off x="0" y="1106662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8" name="Title 1">
            <a:extLst>
              <a:ext uri="{FF2B5EF4-FFF2-40B4-BE49-F238E27FC236}">
                <a16:creationId xmlns:a16="http://schemas.microsoft.com/office/drawing/2014/main" id="{75370FBE-AF75-1AE5-45AA-751B0E8873B2}"/>
              </a:ext>
            </a:extLst>
          </p:cNvPr>
          <p:cNvSpPr txBox="1">
            <a:spLocks/>
          </p:cNvSpPr>
          <p:nvPr/>
        </p:nvSpPr>
        <p:spPr>
          <a:xfrm>
            <a:off x="0" y="6492875"/>
            <a:ext cx="1712096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400"/>
              <a:t>ANL488 Presentation</a:t>
            </a:r>
            <a:endParaRPr lang="en-GB" sz="1400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402831E-6AE2-EEFE-2465-17927A729057}"/>
              </a:ext>
            </a:extLst>
          </p:cNvPr>
          <p:cNvGrpSpPr/>
          <p:nvPr/>
        </p:nvGrpSpPr>
        <p:grpSpPr>
          <a:xfrm>
            <a:off x="822386" y="3226085"/>
            <a:ext cx="5706438" cy="3351215"/>
            <a:chOff x="838200" y="3226085"/>
            <a:chExt cx="5706438" cy="3351215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B7B2C090-C4B6-B32D-D670-707FD8C2F564}"/>
                </a:ext>
              </a:extLst>
            </p:cNvPr>
            <p:cNvGrpSpPr/>
            <p:nvPr/>
          </p:nvGrpSpPr>
          <p:grpSpPr>
            <a:xfrm>
              <a:off x="838200" y="3226085"/>
              <a:ext cx="5706438" cy="3351215"/>
              <a:chOff x="580541" y="3639524"/>
              <a:chExt cx="4916133" cy="3218476"/>
            </a:xfrm>
          </p:grpSpPr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51146B55-0726-D239-0C4D-2D83B698288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80541" y="3639524"/>
                <a:ext cx="4916133" cy="3218476"/>
              </a:xfrm>
              <a:prstGeom prst="rect">
                <a:avLst/>
              </a:prstGeom>
            </p:spPr>
          </p:pic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BC15F2B8-A21E-9A24-8EBB-D44F8E4BED41}"/>
                  </a:ext>
                </a:extLst>
              </p:cNvPr>
              <p:cNvGrpSpPr/>
              <p:nvPr/>
            </p:nvGrpSpPr>
            <p:grpSpPr>
              <a:xfrm>
                <a:off x="1315092" y="4140486"/>
                <a:ext cx="2198670" cy="2143945"/>
                <a:chOff x="1315092" y="4140486"/>
                <a:chExt cx="2198670" cy="2143945"/>
              </a:xfrm>
            </p:grpSpPr>
            <p:cxnSp>
              <p:nvCxnSpPr>
                <p:cNvPr id="12" name="Straight Connector 11">
                  <a:extLst>
                    <a:ext uri="{FF2B5EF4-FFF2-40B4-BE49-F238E27FC236}">
                      <a16:creationId xmlns:a16="http://schemas.microsoft.com/office/drawing/2014/main" id="{5AE53C5F-698F-F3FC-B8A2-52E3606324D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513762" y="4202130"/>
                  <a:ext cx="0" cy="2082301"/>
                </a:xfrm>
                <a:prstGeom prst="line">
                  <a:avLst/>
                </a:prstGeom>
                <a:ln w="9525" cap="flat" cmpd="sng" algn="ctr">
                  <a:solidFill>
                    <a:schemeClr val="dk1"/>
                  </a:solidFill>
                  <a:prstDash val="dash"/>
                  <a:round/>
                  <a:headEnd type="none" w="med" len="med"/>
                  <a:tailEnd type="none" w="med" len="me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tx1"/>
                </a:fontRef>
              </p:style>
            </p:cxnSp>
            <p:cxnSp>
              <p:nvCxnSpPr>
                <p:cNvPr id="13" name="Straight Connector 12">
                  <a:extLst>
                    <a:ext uri="{FF2B5EF4-FFF2-40B4-BE49-F238E27FC236}">
                      <a16:creationId xmlns:a16="http://schemas.microsoft.com/office/drawing/2014/main" id="{26AB5A1B-D500-50CD-2ECC-FD8BE48DB8F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1315092" y="4140486"/>
                  <a:ext cx="2198670" cy="0"/>
                </a:xfrm>
                <a:prstGeom prst="line">
                  <a:avLst/>
                </a:prstGeom>
                <a:ln w="9525" cap="flat" cmpd="sng" algn="ctr">
                  <a:solidFill>
                    <a:schemeClr val="dk1"/>
                  </a:solidFill>
                  <a:prstDash val="dash"/>
                  <a:round/>
                  <a:headEnd type="none" w="med" len="med"/>
                  <a:tailEnd type="none" w="med" len="me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23C86F19-B37A-0C25-995A-4EB7AEF3881C}"/>
                </a:ext>
              </a:extLst>
            </p:cNvPr>
            <p:cNvSpPr/>
            <p:nvPr/>
          </p:nvSpPr>
          <p:spPr>
            <a:xfrm>
              <a:off x="4130617" y="6029806"/>
              <a:ext cx="215488" cy="236528"/>
            </a:xfrm>
            <a:prstGeom prst="ellipse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SG" dirty="0"/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B25F6D53-F880-FB75-0D5D-31EC2EC2E87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69945" y="1871589"/>
            <a:ext cx="5300872" cy="365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14095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28DD3B-FC3A-BB6A-0B7E-ED4111D2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18348"/>
            <a:ext cx="10515600" cy="488315"/>
          </a:xfrm>
        </p:spPr>
        <p:txBody>
          <a:bodyPr vert="horz">
            <a:noAutofit/>
          </a:bodyPr>
          <a:lstStyle/>
          <a:p>
            <a:r>
              <a:rPr lang="en-GB" sz="2400" dirty="0" err="1"/>
              <a:t>KMeans</a:t>
            </a:r>
            <a:endParaRPr lang="en-GB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169F97-F06D-3347-4110-1AE71FAB11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10491"/>
            <a:ext cx="10515600" cy="4966472"/>
          </a:xfrm>
        </p:spPr>
        <p:txBody>
          <a:bodyPr>
            <a:normAutofit/>
          </a:bodyPr>
          <a:lstStyle/>
          <a:p>
            <a:r>
              <a:rPr lang="en-GB" sz="2000" dirty="0"/>
              <a:t>Used Elbow plot to determine optimal clusters</a:t>
            </a:r>
          </a:p>
          <a:p>
            <a:r>
              <a:rPr lang="en-GB" sz="2000" dirty="0"/>
              <a:t>Range trained was from 1 to 11</a:t>
            </a:r>
          </a:p>
          <a:p>
            <a:r>
              <a:rPr lang="en-GB" sz="2000" dirty="0"/>
              <a:t>Based on elbow plot, optimal cluster of 6 is chose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FC6FB-FB45-6B94-3BE8-47B466BF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Slide </a:t>
            </a:r>
            <a:fld id="{EA47C1C1-E03C-4710-B8F6-102B1D3AFD6F}" type="slidenum">
              <a:rPr lang="en-GB" smtClean="0"/>
              <a:t>13</a:t>
            </a:fld>
            <a:r>
              <a:rPr lang="en-GB" dirty="0"/>
              <a:t> of 21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4AB267-D915-308A-5F67-39086B443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8E301B-9B50-6212-4C84-3067C055A3F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8852" y="2607717"/>
            <a:ext cx="6168348" cy="3884565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6B7BAC6-E609-2021-2FC8-2EF4529D9677}"/>
              </a:ext>
            </a:extLst>
          </p:cNvPr>
          <p:cNvCxnSpPr/>
          <p:nvPr/>
        </p:nvCxnSpPr>
        <p:spPr>
          <a:xfrm>
            <a:off x="0" y="1107255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25F03F3E-0F86-D96E-AC4B-5A2F1F7F292B}"/>
              </a:ext>
            </a:extLst>
          </p:cNvPr>
          <p:cNvSpPr txBox="1">
            <a:spLocks/>
          </p:cNvSpPr>
          <p:nvPr/>
        </p:nvSpPr>
        <p:spPr>
          <a:xfrm>
            <a:off x="0" y="6492875"/>
            <a:ext cx="1712096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400"/>
              <a:t>ANL488 Presentation</a:t>
            </a:r>
            <a:endParaRPr lang="en-GB" sz="1400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B1164363-A98E-978F-CBE7-154CB7622D70}"/>
              </a:ext>
            </a:extLst>
          </p:cNvPr>
          <p:cNvSpPr/>
          <p:nvPr/>
        </p:nvSpPr>
        <p:spPr>
          <a:xfrm>
            <a:off x="3912659" y="5922139"/>
            <a:ext cx="215488" cy="236528"/>
          </a:xfrm>
          <a:prstGeom prst="ellipse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SG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207C3AC-1A8E-0CAE-AFAE-03AB1026CDCC}"/>
              </a:ext>
            </a:extLst>
          </p:cNvPr>
          <p:cNvCxnSpPr>
            <a:cxnSpLocks/>
          </p:cNvCxnSpPr>
          <p:nvPr/>
        </p:nvCxnSpPr>
        <p:spPr>
          <a:xfrm>
            <a:off x="4007964" y="5383658"/>
            <a:ext cx="0" cy="466444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0796CED-774B-B3DA-5666-BE2F08F73112}"/>
              </a:ext>
            </a:extLst>
          </p:cNvPr>
          <p:cNvCxnSpPr>
            <a:cxnSpLocks/>
          </p:cNvCxnSpPr>
          <p:nvPr/>
        </p:nvCxnSpPr>
        <p:spPr>
          <a:xfrm flipH="1">
            <a:off x="1326409" y="5404206"/>
            <a:ext cx="2681555" cy="0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EC614000-3889-881D-3DEC-26B320BB1D0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37200" y="1864927"/>
            <a:ext cx="5518644" cy="365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64972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32011A72-98E1-4967-C7CD-3FE67C83C4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8200" y="3111581"/>
            <a:ext cx="5070499" cy="3533568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28DD3B-FC3A-BB6A-0B7E-ED4111D2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18348"/>
            <a:ext cx="10515600" cy="488315"/>
          </a:xfrm>
        </p:spPr>
        <p:txBody>
          <a:bodyPr vert="horz">
            <a:noAutofit/>
          </a:bodyPr>
          <a:lstStyle/>
          <a:p>
            <a:r>
              <a:rPr lang="en-GB" sz="2400" dirty="0"/>
              <a:t>Self Organizing Map (SOM) + </a:t>
            </a:r>
            <a:r>
              <a:rPr lang="en-GB" sz="2400" dirty="0" err="1"/>
              <a:t>KMeans</a:t>
            </a:r>
            <a:endParaRPr lang="en-GB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169F97-F06D-3347-4110-1AE71FAB11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10491"/>
            <a:ext cx="10515600" cy="4966472"/>
          </a:xfrm>
        </p:spPr>
        <p:txBody>
          <a:bodyPr>
            <a:normAutofit/>
          </a:bodyPr>
          <a:lstStyle/>
          <a:p>
            <a:r>
              <a:rPr lang="en-GB" sz="2000" dirty="0"/>
              <a:t>Trained UK data using SOM with 10 X 10 grid</a:t>
            </a:r>
          </a:p>
          <a:p>
            <a:r>
              <a:rPr lang="en-GB" sz="2000" dirty="0"/>
              <a:t>Output is 100 clusters</a:t>
            </a:r>
          </a:p>
          <a:p>
            <a:r>
              <a:rPr lang="en-GB" sz="2000" dirty="0"/>
              <a:t>Used </a:t>
            </a:r>
            <a:r>
              <a:rPr lang="en-GB" sz="2000" dirty="0" err="1"/>
              <a:t>KMeans</a:t>
            </a:r>
            <a:r>
              <a:rPr lang="en-GB" sz="2000" dirty="0"/>
              <a:t> to combine the clusters </a:t>
            </a:r>
          </a:p>
          <a:p>
            <a:r>
              <a:rPr lang="en-GB" sz="2000" dirty="0"/>
              <a:t>Optimal clusters chosen using elbow plot</a:t>
            </a:r>
          </a:p>
          <a:p>
            <a:r>
              <a:rPr lang="en-GB" sz="2000" dirty="0"/>
              <a:t>Optimal clusters of 4 was chose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FC6FB-FB45-6B94-3BE8-47B466BF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1885"/>
            <a:ext cx="2743200" cy="365125"/>
          </a:xfrm>
        </p:spPr>
        <p:txBody>
          <a:bodyPr/>
          <a:lstStyle/>
          <a:p>
            <a:r>
              <a:rPr lang="en-GB" dirty="0"/>
              <a:t>Slide </a:t>
            </a:r>
            <a:fld id="{EA47C1C1-E03C-4710-B8F6-102B1D3AFD6F}" type="slidenum">
              <a:rPr lang="en-GB" smtClean="0"/>
              <a:t>14</a:t>
            </a:fld>
            <a:r>
              <a:rPr lang="en-GB" dirty="0"/>
              <a:t> of 21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4AB267-D915-308A-5F67-39086B443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8FF684F-26D3-A6A6-549A-B4606C15CE18}"/>
              </a:ext>
            </a:extLst>
          </p:cNvPr>
          <p:cNvCxnSpPr/>
          <p:nvPr/>
        </p:nvCxnSpPr>
        <p:spPr>
          <a:xfrm>
            <a:off x="0" y="1107255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2C0166E1-AA92-6004-F90C-5191AD5B2064}"/>
              </a:ext>
            </a:extLst>
          </p:cNvPr>
          <p:cNvSpPr txBox="1">
            <a:spLocks/>
          </p:cNvSpPr>
          <p:nvPr/>
        </p:nvSpPr>
        <p:spPr>
          <a:xfrm>
            <a:off x="0" y="6492875"/>
            <a:ext cx="1712096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400"/>
              <a:t>ANL488 Presentation</a:t>
            </a:r>
            <a:endParaRPr lang="en-GB" sz="1400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A71F8F56-3058-EC14-CD70-4E853646AF8C}"/>
              </a:ext>
            </a:extLst>
          </p:cNvPr>
          <p:cNvSpPr/>
          <p:nvPr/>
        </p:nvSpPr>
        <p:spPr>
          <a:xfrm>
            <a:off x="2858577" y="6173753"/>
            <a:ext cx="215488" cy="236528"/>
          </a:xfrm>
          <a:prstGeom prst="ellipse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SG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9ADEB77-82EF-2D2B-E2D8-9EA51057B645}"/>
              </a:ext>
            </a:extLst>
          </p:cNvPr>
          <p:cNvCxnSpPr>
            <a:cxnSpLocks/>
          </p:cNvCxnSpPr>
          <p:nvPr/>
        </p:nvCxnSpPr>
        <p:spPr>
          <a:xfrm flipV="1">
            <a:off x="1438382" y="5784137"/>
            <a:ext cx="1509632" cy="10274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4AD2058-E0DB-11AF-6A34-CAF42B3AA1D0}"/>
              </a:ext>
            </a:extLst>
          </p:cNvPr>
          <p:cNvCxnSpPr>
            <a:cxnSpLocks/>
          </p:cNvCxnSpPr>
          <p:nvPr/>
        </p:nvCxnSpPr>
        <p:spPr>
          <a:xfrm>
            <a:off x="2948014" y="5746037"/>
            <a:ext cx="0" cy="394523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7123BA1C-F6A3-EC38-5E70-031E5C9722D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46899" y="1871591"/>
            <a:ext cx="5310294" cy="365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35167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28DD3B-FC3A-BB6A-0B7E-ED4111D2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18348"/>
            <a:ext cx="10515600" cy="488315"/>
          </a:xfrm>
        </p:spPr>
        <p:txBody>
          <a:bodyPr vert="horz">
            <a:noAutofit/>
          </a:bodyPr>
          <a:lstStyle/>
          <a:p>
            <a:r>
              <a:rPr lang="en-GB" sz="2400" dirty="0"/>
              <a:t>DBSCA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169F97-F06D-3347-4110-1AE71FAB11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10491"/>
            <a:ext cx="10515600" cy="4966472"/>
          </a:xfrm>
        </p:spPr>
        <p:txBody>
          <a:bodyPr>
            <a:normAutofit/>
          </a:bodyPr>
          <a:lstStyle/>
          <a:p>
            <a:r>
              <a:rPr lang="en-GB" sz="2000" dirty="0"/>
              <a:t>Find Optimal eps (epsilon) using </a:t>
            </a:r>
            <a:r>
              <a:rPr lang="en-GB" sz="2000" dirty="0" err="1"/>
              <a:t>avg</a:t>
            </a:r>
            <a:r>
              <a:rPr lang="en-GB" sz="2000" dirty="0"/>
              <a:t> distance of k-nearest neighbour</a:t>
            </a:r>
          </a:p>
          <a:p>
            <a:r>
              <a:rPr lang="en-GB" sz="2000" dirty="0"/>
              <a:t>K set to 10 at random</a:t>
            </a:r>
          </a:p>
          <a:p>
            <a:r>
              <a:rPr lang="en-GB" sz="2000" dirty="0"/>
              <a:t>Maximum curvature used as epsilon</a:t>
            </a:r>
          </a:p>
          <a:p>
            <a:r>
              <a:rPr lang="en-GB" sz="2000" dirty="0" err="1"/>
              <a:t>Dbscan</a:t>
            </a:r>
            <a:r>
              <a:rPr lang="en-GB" sz="2000" dirty="0"/>
              <a:t> initialised and fitted </a:t>
            </a:r>
          </a:p>
          <a:p>
            <a:r>
              <a:rPr lang="en-GB" sz="2000" dirty="0" err="1"/>
              <a:t>min_samples</a:t>
            </a:r>
            <a:r>
              <a:rPr lang="en-GB" sz="2000" dirty="0"/>
              <a:t> set at 70</a:t>
            </a:r>
          </a:p>
          <a:p>
            <a:endParaRPr lang="en-GB" sz="2000" dirty="0"/>
          </a:p>
          <a:p>
            <a:pPr marL="0" indent="0">
              <a:buNone/>
            </a:pPr>
            <a:endParaRPr lang="en-GB" sz="2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FC6FB-FB45-6B94-3BE8-47B466BF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Slide </a:t>
            </a:r>
            <a:fld id="{EA47C1C1-E03C-4710-B8F6-102B1D3AFD6F}" type="slidenum">
              <a:rPr lang="en-GB" smtClean="0"/>
              <a:t>15</a:t>
            </a:fld>
            <a:r>
              <a:rPr lang="en-GB" dirty="0"/>
              <a:t> of 21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4AB267-D915-308A-5F67-39086B443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8FF684F-26D3-A6A6-549A-B4606C15CE18}"/>
              </a:ext>
            </a:extLst>
          </p:cNvPr>
          <p:cNvCxnSpPr/>
          <p:nvPr/>
        </p:nvCxnSpPr>
        <p:spPr>
          <a:xfrm>
            <a:off x="0" y="1107255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2C0166E1-AA92-6004-F90C-5191AD5B2064}"/>
              </a:ext>
            </a:extLst>
          </p:cNvPr>
          <p:cNvSpPr txBox="1">
            <a:spLocks/>
          </p:cNvSpPr>
          <p:nvPr/>
        </p:nvSpPr>
        <p:spPr>
          <a:xfrm>
            <a:off x="0" y="6492875"/>
            <a:ext cx="1712096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400"/>
              <a:t>ANL488 Presentation</a:t>
            </a:r>
            <a:endParaRPr lang="en-GB" sz="140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23EFFA7-3FE6-0C36-E8D0-C74E2A3952B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1417" y="3231964"/>
            <a:ext cx="4244565" cy="3260318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9ADEB77-82EF-2D2B-E2D8-9EA51057B645}"/>
              </a:ext>
            </a:extLst>
          </p:cNvPr>
          <p:cNvCxnSpPr>
            <a:cxnSpLocks/>
          </p:cNvCxnSpPr>
          <p:nvPr/>
        </p:nvCxnSpPr>
        <p:spPr>
          <a:xfrm>
            <a:off x="1273995" y="5662920"/>
            <a:ext cx="3112401" cy="0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0300F969-056F-D515-6A0A-E3616E81111A}"/>
              </a:ext>
            </a:extLst>
          </p:cNvPr>
          <p:cNvSpPr txBox="1"/>
          <p:nvPr/>
        </p:nvSpPr>
        <p:spPr>
          <a:xfrm>
            <a:off x="4018105" y="5390023"/>
            <a:ext cx="50847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/>
              <a:t>0.397</a:t>
            </a:r>
            <a:endParaRPr lang="en-SG" sz="1050" dirty="0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13FDB6FB-02A3-C7ED-B412-A410D0C4A8E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63733" y="2195265"/>
            <a:ext cx="5304430" cy="365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908850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28DD3B-FC3A-BB6A-0B7E-ED4111D2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18348"/>
            <a:ext cx="10515600" cy="488315"/>
          </a:xfrm>
        </p:spPr>
        <p:txBody>
          <a:bodyPr vert="horz">
            <a:noAutofit/>
          </a:bodyPr>
          <a:lstStyle/>
          <a:p>
            <a:r>
              <a:rPr lang="en-GB" sz="2400" dirty="0"/>
              <a:t>Comparison of the unsupervised algorithms to industry standar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FC6FB-FB45-6B94-3BE8-47B466BF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Slide </a:t>
            </a:r>
            <a:fld id="{EA47C1C1-E03C-4710-B8F6-102B1D3AFD6F}" type="slidenum">
              <a:rPr lang="en-GB" smtClean="0"/>
              <a:t>16</a:t>
            </a:fld>
            <a:r>
              <a:rPr lang="en-GB" dirty="0"/>
              <a:t> of 21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4AB267-D915-308A-5F67-39086B443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52072553-2490-F800-2189-9FC9D0483094}"/>
              </a:ext>
            </a:extLst>
          </p:cNvPr>
          <p:cNvSpPr txBox="1">
            <a:spLocks/>
          </p:cNvSpPr>
          <p:nvPr/>
        </p:nvSpPr>
        <p:spPr>
          <a:xfrm>
            <a:off x="855246" y="1223305"/>
            <a:ext cx="10515600" cy="4966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2400" dirty="0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51E8113-C3BA-7923-2F9E-5CE4DF622EFF}"/>
              </a:ext>
            </a:extLst>
          </p:cNvPr>
          <p:cNvSpPr txBox="1">
            <a:spLocks/>
          </p:cNvSpPr>
          <p:nvPr/>
        </p:nvSpPr>
        <p:spPr>
          <a:xfrm>
            <a:off x="838200" y="945764"/>
            <a:ext cx="5257800" cy="1812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2400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56A8A577-8C2B-4E84-D73E-F1541345B5CF}"/>
              </a:ext>
            </a:extLst>
          </p:cNvPr>
          <p:cNvSpPr txBox="1">
            <a:spLocks/>
          </p:cNvSpPr>
          <p:nvPr/>
        </p:nvSpPr>
        <p:spPr>
          <a:xfrm>
            <a:off x="990600" y="1362891"/>
            <a:ext cx="7484207" cy="20486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2000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DC70604-DB52-5265-8FF4-6BC5E0A6BAD3}"/>
              </a:ext>
            </a:extLst>
          </p:cNvPr>
          <p:cNvCxnSpPr/>
          <p:nvPr/>
        </p:nvCxnSpPr>
        <p:spPr>
          <a:xfrm>
            <a:off x="0" y="1107255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8" name="Title 1">
            <a:extLst>
              <a:ext uri="{FF2B5EF4-FFF2-40B4-BE49-F238E27FC236}">
                <a16:creationId xmlns:a16="http://schemas.microsoft.com/office/drawing/2014/main" id="{4EB12A62-88BE-5F38-D329-8093A1CAC5F5}"/>
              </a:ext>
            </a:extLst>
          </p:cNvPr>
          <p:cNvSpPr txBox="1">
            <a:spLocks/>
          </p:cNvSpPr>
          <p:nvPr/>
        </p:nvSpPr>
        <p:spPr>
          <a:xfrm>
            <a:off x="0" y="6492875"/>
            <a:ext cx="1712096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400"/>
              <a:t>ANL488 Presentation</a:t>
            </a:r>
            <a:endParaRPr lang="en-GB" sz="14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70B56EC-1E06-DB3F-434C-0F820AA6298A}"/>
              </a:ext>
            </a:extLst>
          </p:cNvPr>
          <p:cNvSpPr txBox="1"/>
          <p:nvPr/>
        </p:nvSpPr>
        <p:spPr>
          <a:xfrm>
            <a:off x="2807850" y="3377011"/>
            <a:ext cx="13184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Benchmark</a:t>
            </a:r>
            <a:endParaRPr lang="en-SG" b="1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52D0482-6987-0721-03C2-78AB6C14520F}"/>
              </a:ext>
            </a:extLst>
          </p:cNvPr>
          <p:cNvSpPr txBox="1"/>
          <p:nvPr/>
        </p:nvSpPr>
        <p:spPr>
          <a:xfrm>
            <a:off x="7948691" y="3411509"/>
            <a:ext cx="13184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err="1"/>
              <a:t>KMeans</a:t>
            </a:r>
            <a:endParaRPr lang="en-SG" b="1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F877E0F-9D3A-4C94-9ABF-56CA5D8DFDFE}"/>
              </a:ext>
            </a:extLst>
          </p:cNvPr>
          <p:cNvSpPr txBox="1"/>
          <p:nvPr/>
        </p:nvSpPr>
        <p:spPr>
          <a:xfrm>
            <a:off x="2658057" y="6128202"/>
            <a:ext cx="16180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err="1"/>
              <a:t>SOM+KMeans</a:t>
            </a:r>
            <a:endParaRPr lang="en-SG" b="1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B95AD01-1054-DE07-B918-35E447EB4EFB}"/>
              </a:ext>
            </a:extLst>
          </p:cNvPr>
          <p:cNvSpPr txBox="1"/>
          <p:nvPr/>
        </p:nvSpPr>
        <p:spPr>
          <a:xfrm>
            <a:off x="7948691" y="6121160"/>
            <a:ext cx="13184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DBSCAN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71FBE70-BE46-6AEA-230B-67343481B98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09269" y="1182556"/>
            <a:ext cx="3313045" cy="22860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36EAEC3-0397-8F00-31C9-8307697DF00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14669" y="1192830"/>
            <a:ext cx="3449153" cy="22860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77AFA188-59AF-D90E-9357-D2533AFF38C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603380" y="3801847"/>
            <a:ext cx="3318934" cy="22860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54860DD4-6D6D-851A-6C11-0BCC7373F1A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714670" y="3766932"/>
            <a:ext cx="3417772" cy="228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122203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28DD3B-FC3A-BB6A-0B7E-ED4111D2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18348"/>
            <a:ext cx="10515600" cy="488315"/>
          </a:xfrm>
        </p:spPr>
        <p:txBody>
          <a:bodyPr vert="horz">
            <a:noAutofit/>
          </a:bodyPr>
          <a:lstStyle/>
          <a:p>
            <a:r>
              <a:rPr lang="en-GB" sz="2400" dirty="0"/>
              <a:t>Comparison of the unsupervised algorithms to industry standar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FC6FB-FB45-6B94-3BE8-47B466BF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75251" y="6355560"/>
            <a:ext cx="2743200" cy="365125"/>
          </a:xfrm>
        </p:spPr>
        <p:txBody>
          <a:bodyPr/>
          <a:lstStyle/>
          <a:p>
            <a:r>
              <a:rPr lang="en-GB" dirty="0"/>
              <a:t>Slide </a:t>
            </a:r>
            <a:fld id="{EA47C1C1-E03C-4710-B8F6-102B1D3AFD6F}" type="slidenum">
              <a:rPr lang="en-GB" smtClean="0"/>
              <a:t>17</a:t>
            </a:fld>
            <a:r>
              <a:rPr lang="en-GB" dirty="0"/>
              <a:t> of 21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4AB267-D915-308A-5F67-39086B443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970B56EC-1E06-DB3F-434C-0F820AA6298A}"/>
              </a:ext>
            </a:extLst>
          </p:cNvPr>
          <p:cNvSpPr txBox="1"/>
          <p:nvPr/>
        </p:nvSpPr>
        <p:spPr>
          <a:xfrm>
            <a:off x="3224005" y="1328687"/>
            <a:ext cx="13184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Benchmark</a:t>
            </a:r>
            <a:endParaRPr lang="en-SG" b="1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52D0482-6987-0721-03C2-78AB6C14520F}"/>
              </a:ext>
            </a:extLst>
          </p:cNvPr>
          <p:cNvSpPr txBox="1"/>
          <p:nvPr/>
        </p:nvSpPr>
        <p:spPr>
          <a:xfrm>
            <a:off x="7054417" y="1353188"/>
            <a:ext cx="13184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err="1"/>
              <a:t>KMeans</a:t>
            </a:r>
            <a:endParaRPr lang="en-SG" b="1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F877E0F-9D3A-4C94-9ABF-56CA5D8DFDFE}"/>
              </a:ext>
            </a:extLst>
          </p:cNvPr>
          <p:cNvSpPr txBox="1"/>
          <p:nvPr/>
        </p:nvSpPr>
        <p:spPr>
          <a:xfrm>
            <a:off x="3027061" y="3518879"/>
            <a:ext cx="16180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err="1"/>
              <a:t>SOM+KMeans</a:t>
            </a:r>
            <a:endParaRPr lang="en-SG" b="1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52072553-2490-F800-2189-9FC9D0483094}"/>
              </a:ext>
            </a:extLst>
          </p:cNvPr>
          <p:cNvSpPr txBox="1">
            <a:spLocks/>
          </p:cNvSpPr>
          <p:nvPr/>
        </p:nvSpPr>
        <p:spPr>
          <a:xfrm>
            <a:off x="5905500" y="-1014538"/>
            <a:ext cx="10515600" cy="4966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2400" dirty="0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51E8113-C3BA-7923-2F9E-5CE4DF622EFF}"/>
              </a:ext>
            </a:extLst>
          </p:cNvPr>
          <p:cNvSpPr txBox="1">
            <a:spLocks/>
          </p:cNvSpPr>
          <p:nvPr/>
        </p:nvSpPr>
        <p:spPr>
          <a:xfrm>
            <a:off x="838200" y="945764"/>
            <a:ext cx="5257800" cy="1812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2400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DC70604-DB52-5265-8FF4-6BC5E0A6BAD3}"/>
              </a:ext>
            </a:extLst>
          </p:cNvPr>
          <p:cNvCxnSpPr/>
          <p:nvPr/>
        </p:nvCxnSpPr>
        <p:spPr>
          <a:xfrm>
            <a:off x="0" y="1107255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8" name="Title 1">
            <a:extLst>
              <a:ext uri="{FF2B5EF4-FFF2-40B4-BE49-F238E27FC236}">
                <a16:creationId xmlns:a16="http://schemas.microsoft.com/office/drawing/2014/main" id="{4EB12A62-88BE-5F38-D329-8093A1CAC5F5}"/>
              </a:ext>
            </a:extLst>
          </p:cNvPr>
          <p:cNvSpPr txBox="1">
            <a:spLocks/>
          </p:cNvSpPr>
          <p:nvPr/>
        </p:nvSpPr>
        <p:spPr>
          <a:xfrm>
            <a:off x="0" y="6492875"/>
            <a:ext cx="1712096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400"/>
              <a:t>ANL488 Presentation</a:t>
            </a:r>
            <a:endParaRPr lang="en-GB" sz="1400" dirty="0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BACC0D5D-39AF-6E90-03C9-2EDA740ACDD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80061" y="1843223"/>
            <a:ext cx="3403653" cy="1673352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6BA65D5F-58F3-3D93-1CAF-D6EF37C4336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16661" y="1839039"/>
            <a:ext cx="3470939" cy="1673352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69EDF28C-863D-B31D-CBB3-5F576B1F7A5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33591" y="3971965"/>
            <a:ext cx="3341875" cy="113876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DA6CC7F-7352-DCF0-6898-B6AC05975EE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916661" y="3991008"/>
            <a:ext cx="3470939" cy="127460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818314A-E0F0-7DDC-DF41-E2BE2F37460E}"/>
              </a:ext>
            </a:extLst>
          </p:cNvPr>
          <p:cNvSpPr txBox="1"/>
          <p:nvPr/>
        </p:nvSpPr>
        <p:spPr>
          <a:xfrm>
            <a:off x="7054416" y="3518879"/>
            <a:ext cx="13184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DBSCAN</a:t>
            </a:r>
            <a:endParaRPr lang="en-SG" b="1" dirty="0"/>
          </a:p>
        </p:txBody>
      </p:sp>
    </p:spTree>
    <p:extLst>
      <p:ext uri="{BB962C8B-B14F-4D97-AF65-F5344CB8AC3E}">
        <p14:creationId xmlns:p14="http://schemas.microsoft.com/office/powerpoint/2010/main" val="103783599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28DD3B-FC3A-BB6A-0B7E-ED4111D2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18345"/>
            <a:ext cx="10515600" cy="488315"/>
          </a:xfrm>
        </p:spPr>
        <p:txBody>
          <a:bodyPr vert="horz">
            <a:noAutofit/>
          </a:bodyPr>
          <a:lstStyle/>
          <a:p>
            <a:r>
              <a:rPr lang="en-GB" sz="2400" dirty="0"/>
              <a:t>Comparison between clustering algorithms</a:t>
            </a:r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FAB75FA8-02E3-3448-C051-6AB176A9FE5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81813050"/>
              </p:ext>
            </p:extLst>
          </p:nvPr>
        </p:nvGraphicFramePr>
        <p:xfrm>
          <a:off x="838200" y="3895725"/>
          <a:ext cx="10515600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28900">
                  <a:extLst>
                    <a:ext uri="{9D8B030D-6E8A-4147-A177-3AD203B41FA5}">
                      <a16:colId xmlns:a16="http://schemas.microsoft.com/office/drawing/2014/main" val="1915437231"/>
                    </a:ext>
                  </a:extLst>
                </a:gridCol>
                <a:gridCol w="2628900">
                  <a:extLst>
                    <a:ext uri="{9D8B030D-6E8A-4147-A177-3AD203B41FA5}">
                      <a16:colId xmlns:a16="http://schemas.microsoft.com/office/drawing/2014/main" val="4165589887"/>
                    </a:ext>
                  </a:extLst>
                </a:gridCol>
                <a:gridCol w="2628900">
                  <a:extLst>
                    <a:ext uri="{9D8B030D-6E8A-4147-A177-3AD203B41FA5}">
                      <a16:colId xmlns:a16="http://schemas.microsoft.com/office/drawing/2014/main" val="4120019481"/>
                    </a:ext>
                  </a:extLst>
                </a:gridCol>
                <a:gridCol w="2628900">
                  <a:extLst>
                    <a:ext uri="{9D8B030D-6E8A-4147-A177-3AD203B41FA5}">
                      <a16:colId xmlns:a16="http://schemas.microsoft.com/office/drawing/2014/main" val="86410374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lustering Algorithms</a:t>
                      </a:r>
                      <a:endParaRPr lang="en-S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</a:t>
                      </a:r>
                      <a:r>
                        <a:rPr lang="en-SG" dirty="0" err="1"/>
                        <a:t>ilhouette</a:t>
                      </a:r>
                      <a:r>
                        <a:rPr lang="en-SG" dirty="0"/>
                        <a:t> Coefficient 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Calinski-Harabaz</a:t>
                      </a:r>
                      <a:r>
                        <a:rPr lang="en-US" dirty="0"/>
                        <a:t> Index</a:t>
                      </a:r>
                      <a:endParaRPr lang="en-S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avies-Bouldin Index</a:t>
                      </a:r>
                      <a:endParaRPr lang="en-SG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52726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KMeans</a:t>
                      </a:r>
                      <a:endParaRPr lang="en-S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>
                          <a:solidFill>
                            <a:srgbClr val="00B050"/>
                          </a:solidFill>
                        </a:rPr>
                        <a:t>0.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>
                          <a:solidFill>
                            <a:srgbClr val="00B050"/>
                          </a:solidFill>
                        </a:rPr>
                        <a:t>42838.3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>
                          <a:solidFill>
                            <a:srgbClr val="00B050"/>
                          </a:solidFill>
                        </a:rPr>
                        <a:t>1.1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36317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SOM + </a:t>
                      </a:r>
                      <a:r>
                        <a:rPr lang="en-US" dirty="0" err="1"/>
                        <a:t>KMeans</a:t>
                      </a:r>
                      <a:endParaRPr lang="en-S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  <a:r>
                        <a:rPr lang="en-SG" dirty="0"/>
                        <a:t>.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  <a:r>
                        <a:rPr lang="en-SG" dirty="0"/>
                        <a:t>3282.7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SG" dirty="0"/>
                        <a:t>2.3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66080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DBSCAN</a:t>
                      </a:r>
                      <a:endParaRPr lang="en-S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.09</a:t>
                      </a:r>
                      <a:endParaRPr lang="en-S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840.08</a:t>
                      </a:r>
                      <a:endParaRPr lang="en-S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.36</a:t>
                      </a:r>
                      <a:endParaRPr lang="en-SG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85109915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FC6FB-FB45-6B94-3BE8-47B466BF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Slide </a:t>
            </a:r>
            <a:fld id="{EA47C1C1-E03C-4710-B8F6-102B1D3AFD6F}" type="slidenum">
              <a:rPr lang="en-GB" smtClean="0"/>
              <a:t>18</a:t>
            </a:fld>
            <a:r>
              <a:rPr lang="en-GB" dirty="0"/>
              <a:t> of 21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4AB267-D915-308A-5F67-39086B443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699D386-D822-BFBD-88ED-7BF9FB6D1091}"/>
              </a:ext>
            </a:extLst>
          </p:cNvPr>
          <p:cNvSpPr txBox="1">
            <a:spLocks/>
          </p:cNvSpPr>
          <p:nvPr/>
        </p:nvSpPr>
        <p:spPr>
          <a:xfrm>
            <a:off x="990600" y="1362890"/>
            <a:ext cx="10515600" cy="23201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dirty="0"/>
              <a:t>Metrics use: Silhouette Coefficient, </a:t>
            </a:r>
            <a:r>
              <a:rPr lang="en-GB" sz="2000" dirty="0" err="1"/>
              <a:t>Calinski-Harabaz</a:t>
            </a:r>
            <a:r>
              <a:rPr lang="en-GB" sz="2000" dirty="0"/>
              <a:t> Index, Davies-Bouldin Index</a:t>
            </a:r>
          </a:p>
          <a:p>
            <a:r>
              <a:rPr lang="en-GB" sz="2000" dirty="0"/>
              <a:t>The metrics evaluates uniqueness of clusters </a:t>
            </a:r>
          </a:p>
          <a:p>
            <a:r>
              <a:rPr lang="en-GB" sz="2000" dirty="0"/>
              <a:t>For Silhouette Coefficient and </a:t>
            </a:r>
            <a:r>
              <a:rPr lang="en-GB" sz="2000" dirty="0" err="1"/>
              <a:t>Calinski-Harabaz</a:t>
            </a:r>
            <a:r>
              <a:rPr lang="en-GB" sz="2000" dirty="0"/>
              <a:t> Index, higher values are better</a:t>
            </a:r>
          </a:p>
          <a:p>
            <a:r>
              <a:rPr lang="en-GB" sz="2000" dirty="0"/>
              <a:t>For Davies-Bouldin Index, the lower the value the better</a:t>
            </a:r>
          </a:p>
          <a:p>
            <a:r>
              <a:rPr lang="en-GB" sz="2000" dirty="0" err="1"/>
              <a:t>KMeans</a:t>
            </a:r>
            <a:r>
              <a:rPr lang="en-GB" sz="2000" dirty="0"/>
              <a:t> has a better performance than </a:t>
            </a:r>
            <a:r>
              <a:rPr lang="en-GB" sz="2000" dirty="0" err="1"/>
              <a:t>SOM+Kmeans</a:t>
            </a:r>
            <a:r>
              <a:rPr lang="en-GB" sz="2000" dirty="0"/>
              <a:t> and DBSCAN</a:t>
            </a:r>
            <a:endParaRPr lang="en-GB" sz="2400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CEBFBEA-8DC1-F20C-4CD9-E1BAC3D0EC51}"/>
              </a:ext>
            </a:extLst>
          </p:cNvPr>
          <p:cNvCxnSpPr/>
          <p:nvPr/>
        </p:nvCxnSpPr>
        <p:spPr>
          <a:xfrm>
            <a:off x="0" y="1107255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22AF18AB-60B0-E58E-071C-29AE6D897C4E}"/>
              </a:ext>
            </a:extLst>
          </p:cNvPr>
          <p:cNvSpPr txBox="1">
            <a:spLocks/>
          </p:cNvSpPr>
          <p:nvPr/>
        </p:nvSpPr>
        <p:spPr>
          <a:xfrm>
            <a:off x="0" y="6492875"/>
            <a:ext cx="1712096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400"/>
              <a:t>ANL488 Presentation</a:t>
            </a: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47028337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28DD3B-FC3A-BB6A-0B7E-ED4111D2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18346"/>
            <a:ext cx="10515600" cy="488315"/>
          </a:xfrm>
        </p:spPr>
        <p:txBody>
          <a:bodyPr vert="horz">
            <a:noAutofit/>
          </a:bodyPr>
          <a:lstStyle/>
          <a:p>
            <a:r>
              <a:rPr lang="en-GB" sz="2400" dirty="0"/>
              <a:t>Future Works and Conclu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169F97-F06D-3347-4110-1AE71FAB11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10491"/>
            <a:ext cx="10515600" cy="4966472"/>
          </a:xfrm>
        </p:spPr>
        <p:txBody>
          <a:bodyPr>
            <a:normAutofit/>
          </a:bodyPr>
          <a:lstStyle/>
          <a:p>
            <a:r>
              <a:rPr lang="en-GB" sz="2000" dirty="0"/>
              <a:t>There are further areas that can definitely be included given time</a:t>
            </a:r>
          </a:p>
          <a:p>
            <a:pPr lvl="1"/>
            <a:r>
              <a:rPr lang="en-GB" sz="1800" dirty="0"/>
              <a:t>Application of more algorithms</a:t>
            </a:r>
          </a:p>
          <a:p>
            <a:pPr lvl="1"/>
            <a:r>
              <a:rPr lang="en-GB" sz="1800" dirty="0"/>
              <a:t>More sets of data to account for variability</a:t>
            </a:r>
          </a:p>
          <a:p>
            <a:pPr lvl="1"/>
            <a:r>
              <a:rPr lang="en-GB" sz="1800" dirty="0"/>
              <a:t>Benchmarking against one or more industry standards</a:t>
            </a:r>
          </a:p>
          <a:p>
            <a:pPr lvl="1"/>
            <a:r>
              <a:rPr lang="en-GB" sz="1800" dirty="0"/>
              <a:t>Using different methods for benchmarking</a:t>
            </a:r>
          </a:p>
          <a:p>
            <a:r>
              <a:rPr lang="en-GB" sz="2000" dirty="0"/>
              <a:t>Comparing to benchmark</a:t>
            </a:r>
          </a:p>
          <a:p>
            <a:pPr lvl="1"/>
            <a:r>
              <a:rPr lang="en-GB" sz="1800" dirty="0"/>
              <a:t>Clustering algorithms are not similar to benchmark</a:t>
            </a:r>
          </a:p>
          <a:p>
            <a:r>
              <a:rPr lang="en-GB" sz="2000" dirty="0"/>
              <a:t>Comparing between clustering algorithms</a:t>
            </a:r>
          </a:p>
          <a:p>
            <a:pPr lvl="1"/>
            <a:r>
              <a:rPr lang="en-GB" sz="1800" dirty="0" err="1"/>
              <a:t>KMeans</a:t>
            </a:r>
            <a:r>
              <a:rPr lang="en-GB" sz="1800" dirty="0"/>
              <a:t> have a much better result than SOM + </a:t>
            </a:r>
            <a:r>
              <a:rPr lang="en-GB" sz="1800" dirty="0" err="1"/>
              <a:t>Kmeans</a:t>
            </a:r>
            <a:r>
              <a:rPr lang="en-GB" sz="1800" dirty="0"/>
              <a:t> and DBSCAN</a:t>
            </a:r>
            <a:endParaRPr lang="en-GB" sz="2000" dirty="0"/>
          </a:p>
          <a:p>
            <a:r>
              <a:rPr lang="en-GB" sz="2000" dirty="0"/>
              <a:t>More research can be done for a better comparison</a:t>
            </a:r>
          </a:p>
          <a:p>
            <a:pPr marL="0" indent="0">
              <a:buNone/>
            </a:pPr>
            <a:endParaRPr lang="en-GB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FC6FB-FB45-6B94-3BE8-47B466BF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Slide </a:t>
            </a:r>
            <a:fld id="{EA47C1C1-E03C-4710-B8F6-102B1D3AFD6F}" type="slidenum">
              <a:rPr lang="en-GB" smtClean="0"/>
              <a:t>19</a:t>
            </a:fld>
            <a:r>
              <a:rPr lang="en-GB" dirty="0"/>
              <a:t> of 21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4AB267-D915-308A-5F67-39086B443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DCB19B8-D862-DA60-766F-9A169DE737C7}"/>
              </a:ext>
            </a:extLst>
          </p:cNvPr>
          <p:cNvCxnSpPr/>
          <p:nvPr/>
        </p:nvCxnSpPr>
        <p:spPr>
          <a:xfrm>
            <a:off x="0" y="1107255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8" name="Title 1">
            <a:extLst>
              <a:ext uri="{FF2B5EF4-FFF2-40B4-BE49-F238E27FC236}">
                <a16:creationId xmlns:a16="http://schemas.microsoft.com/office/drawing/2014/main" id="{0DA9C182-58C3-5CD5-8926-B2E0CA5A8CA8}"/>
              </a:ext>
            </a:extLst>
          </p:cNvPr>
          <p:cNvSpPr txBox="1">
            <a:spLocks/>
          </p:cNvSpPr>
          <p:nvPr/>
        </p:nvSpPr>
        <p:spPr>
          <a:xfrm>
            <a:off x="0" y="6492875"/>
            <a:ext cx="1712096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400"/>
              <a:t>ANL488 Presentation</a:t>
            </a: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9689871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7767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28DD3B-FC3A-BB6A-0B7E-ED4111D2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15841"/>
            <a:ext cx="10515600" cy="488315"/>
          </a:xfrm>
        </p:spPr>
        <p:txBody>
          <a:bodyPr vert="horz">
            <a:normAutofit/>
          </a:bodyPr>
          <a:lstStyle/>
          <a:p>
            <a:r>
              <a:rPr lang="en-GB" sz="2400" dirty="0"/>
              <a:t>Introdu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169F97-F06D-3347-4110-1AE71FAB11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10491"/>
            <a:ext cx="10515600" cy="4966472"/>
          </a:xfrm>
        </p:spPr>
        <p:txBody>
          <a:bodyPr>
            <a:normAutofit/>
          </a:bodyPr>
          <a:lstStyle/>
          <a:p>
            <a:r>
              <a:rPr lang="en-GB" sz="2000" dirty="0"/>
              <a:t>Rock typing is the process of grouping rocks based on their characteristics </a:t>
            </a:r>
          </a:p>
          <a:p>
            <a:r>
              <a:rPr lang="en-GB" sz="2000" dirty="0"/>
              <a:t>Background</a:t>
            </a:r>
          </a:p>
          <a:p>
            <a:pPr lvl="1"/>
            <a:r>
              <a:rPr lang="en-GB" sz="1600" dirty="0"/>
              <a:t>Oil &amp; Gas are acquired by drilling wells in sedimentary basins</a:t>
            </a:r>
          </a:p>
          <a:p>
            <a:pPr lvl="1"/>
            <a:r>
              <a:rPr lang="en-GB" sz="1600" dirty="0"/>
              <a:t>Rock samples are extracted to discover flow capacity and storage</a:t>
            </a:r>
          </a:p>
          <a:p>
            <a:pPr lvl="1"/>
            <a:r>
              <a:rPr lang="en-GB" sz="1600" dirty="0"/>
              <a:t>Generalised for future drilling</a:t>
            </a:r>
          </a:p>
          <a:p>
            <a:r>
              <a:rPr lang="en-GB" sz="2000" dirty="0"/>
              <a:t>Business Problem </a:t>
            </a:r>
          </a:p>
          <a:p>
            <a:pPr lvl="1"/>
            <a:r>
              <a:rPr lang="en-GB" sz="1600" dirty="0"/>
              <a:t>Traditional methods are time consuming</a:t>
            </a:r>
          </a:p>
          <a:p>
            <a:pPr lvl="1"/>
            <a:r>
              <a:rPr lang="en-GB" sz="1600" dirty="0"/>
              <a:t>Require domain knowledge</a:t>
            </a:r>
          </a:p>
          <a:p>
            <a:pPr lvl="1"/>
            <a:r>
              <a:rPr lang="en-GB" sz="1600" dirty="0"/>
              <a:t>Can be costly</a:t>
            </a:r>
          </a:p>
          <a:p>
            <a:r>
              <a:rPr lang="en-GB" sz="2000" dirty="0"/>
              <a:t>Objective</a:t>
            </a:r>
            <a:endParaRPr lang="en-GB" sz="1600" dirty="0"/>
          </a:p>
          <a:p>
            <a:pPr lvl="1"/>
            <a:r>
              <a:rPr lang="en-GB" sz="1600" dirty="0"/>
              <a:t>Compare unsupervised algorithms against a traditional metho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FC6FB-FB45-6B94-3BE8-47B466BF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Slide </a:t>
            </a:r>
            <a:fld id="{EA47C1C1-E03C-4710-B8F6-102B1D3AFD6F}" type="slidenum">
              <a:rPr lang="en-GB" smtClean="0"/>
              <a:t>2</a:t>
            </a:fld>
            <a:r>
              <a:rPr lang="en-GB" dirty="0"/>
              <a:t> of 21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4AB267-D915-308A-5F67-39086B443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8CBE725-42BF-D4E2-936F-2B7CCA070C13}"/>
              </a:ext>
            </a:extLst>
          </p:cNvPr>
          <p:cNvCxnSpPr/>
          <p:nvPr/>
        </p:nvCxnSpPr>
        <p:spPr>
          <a:xfrm>
            <a:off x="0" y="1107255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55D57AE9-AEC7-BD54-6942-C94B682453CF}"/>
              </a:ext>
            </a:extLst>
          </p:cNvPr>
          <p:cNvSpPr txBox="1">
            <a:spLocks/>
          </p:cNvSpPr>
          <p:nvPr/>
        </p:nvSpPr>
        <p:spPr>
          <a:xfrm>
            <a:off x="0" y="6492875"/>
            <a:ext cx="1712096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400"/>
              <a:t>ANL488 Presentation</a:t>
            </a:r>
            <a:endParaRPr lang="en-GB" sz="14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76A0F3D-CD18-C813-CDB7-CC44458CAE81}"/>
              </a:ext>
            </a:extLst>
          </p:cNvPr>
          <p:cNvSpPr txBox="1"/>
          <p:nvPr/>
        </p:nvSpPr>
        <p:spPr>
          <a:xfrm>
            <a:off x="7274103" y="5090700"/>
            <a:ext cx="483789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Note. </a:t>
            </a:r>
            <a:r>
              <a:rPr lang="en-US" dirty="0">
                <a:effectLst/>
              </a:rPr>
              <a:t>Department of Mines, Industry Regulation and Safety </a:t>
            </a:r>
            <a:r>
              <a:rPr lang="en-US" dirty="0"/>
              <a:t>(n.d.).</a:t>
            </a:r>
            <a:endParaRPr lang="en-SG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BC2581A-65DE-7F88-CFBA-2BE5B3EC756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74103" y="2269739"/>
            <a:ext cx="4610100" cy="2847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78718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28DD3B-FC3A-BB6A-0B7E-ED4111D2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18346"/>
            <a:ext cx="10515600" cy="488315"/>
          </a:xfrm>
        </p:spPr>
        <p:txBody>
          <a:bodyPr vert="horz">
            <a:noAutofit/>
          </a:bodyPr>
          <a:lstStyle/>
          <a:p>
            <a:r>
              <a:rPr lang="en-GB" sz="2400" dirty="0"/>
              <a:t>Q&amp;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169F97-F06D-3347-4110-1AE71FAB11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10491"/>
            <a:ext cx="10515600" cy="4966472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endParaRPr lang="en-GB" sz="4400" dirty="0"/>
          </a:p>
          <a:p>
            <a:pPr marL="0" indent="0" algn="ctr">
              <a:buNone/>
            </a:pPr>
            <a:endParaRPr lang="en-GB" sz="4400" dirty="0"/>
          </a:p>
          <a:p>
            <a:pPr marL="0" indent="0" algn="ctr">
              <a:buNone/>
            </a:pPr>
            <a:endParaRPr lang="en-GB" sz="4800" dirty="0"/>
          </a:p>
          <a:p>
            <a:pPr marL="0" indent="0" algn="ctr">
              <a:buNone/>
            </a:pPr>
            <a:r>
              <a:rPr lang="en-GB" sz="6600" dirty="0"/>
              <a:t>Thank You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FC6FB-FB45-6B94-3BE8-47B466BF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Slide </a:t>
            </a:r>
            <a:fld id="{EA47C1C1-E03C-4710-B8F6-102B1D3AFD6F}" type="slidenum">
              <a:rPr lang="en-GB" smtClean="0"/>
              <a:t>20</a:t>
            </a:fld>
            <a:r>
              <a:rPr lang="en-GB" dirty="0"/>
              <a:t> of 21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4AB267-D915-308A-5F67-39086B443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DCB19B8-D862-DA60-766F-9A169DE737C7}"/>
              </a:ext>
            </a:extLst>
          </p:cNvPr>
          <p:cNvCxnSpPr/>
          <p:nvPr/>
        </p:nvCxnSpPr>
        <p:spPr>
          <a:xfrm>
            <a:off x="0" y="1107255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8" name="Title 1">
            <a:extLst>
              <a:ext uri="{FF2B5EF4-FFF2-40B4-BE49-F238E27FC236}">
                <a16:creationId xmlns:a16="http://schemas.microsoft.com/office/drawing/2014/main" id="{0DA9C182-58C3-5CD5-8926-B2E0CA5A8CA8}"/>
              </a:ext>
            </a:extLst>
          </p:cNvPr>
          <p:cNvSpPr txBox="1">
            <a:spLocks/>
          </p:cNvSpPr>
          <p:nvPr/>
        </p:nvSpPr>
        <p:spPr>
          <a:xfrm>
            <a:off x="0" y="6492875"/>
            <a:ext cx="1712096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400"/>
              <a:t>ANL488 Presentation</a:t>
            </a: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51571693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28DD3B-FC3A-BB6A-0B7E-ED4111D2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18346"/>
            <a:ext cx="10515600" cy="488315"/>
          </a:xfrm>
        </p:spPr>
        <p:txBody>
          <a:bodyPr vert="horz">
            <a:noAutofit/>
          </a:bodyPr>
          <a:lstStyle/>
          <a:p>
            <a:r>
              <a:rPr lang="en-GB" sz="2400" dirty="0"/>
              <a:t>Referen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169F97-F06D-3347-4110-1AE71FAB11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10491"/>
            <a:ext cx="10515600" cy="496647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effectLst/>
              </a:rPr>
              <a:t>Department of Mines, Industry Regulation and Safety. (n.d.). </a:t>
            </a:r>
            <a:r>
              <a:rPr lang="en-US" sz="2000" i="1" dirty="0">
                <a:effectLst/>
              </a:rPr>
              <a:t>Introduction to unconventional resources. </a:t>
            </a:r>
            <a:r>
              <a:rPr lang="en-US" sz="2000" dirty="0">
                <a:effectLst/>
              </a:rPr>
              <a:t>https://www.dmp.wa.gov.au/Petroleum/Introduction-to-unconventional-25621.aspx </a:t>
            </a:r>
          </a:p>
          <a:p>
            <a:pPr marL="0" indent="0">
              <a:buNone/>
            </a:pPr>
            <a:r>
              <a:rPr lang="en-US" sz="2000" b="0" i="0" dirty="0">
                <a:solidFill>
                  <a:srgbClr val="333333"/>
                </a:solidFill>
                <a:effectLst/>
              </a:rPr>
              <a:t>Khalid, M. Saad,  E. D., </a:t>
            </a:r>
            <a:r>
              <a:rPr lang="en-US" sz="2000" dirty="0" err="1">
                <a:solidFill>
                  <a:srgbClr val="333333"/>
                </a:solidFill>
              </a:rPr>
              <a:t>Desouky</a:t>
            </a:r>
            <a:r>
              <a:rPr lang="en-US" sz="2000" dirty="0">
                <a:solidFill>
                  <a:srgbClr val="333333"/>
                </a:solidFill>
              </a:rPr>
              <a:t>, S</a:t>
            </a:r>
            <a:r>
              <a:rPr lang="en-US" sz="2000">
                <a:solidFill>
                  <a:srgbClr val="333333"/>
                </a:solidFill>
              </a:rPr>
              <a:t>., </a:t>
            </a:r>
            <a:r>
              <a:rPr lang="en-US" sz="2000" b="0" i="0">
                <a:solidFill>
                  <a:srgbClr val="333333"/>
                </a:solidFill>
                <a:effectLst/>
              </a:rPr>
              <a:t>Rashed, M., </a:t>
            </a:r>
            <a:r>
              <a:rPr lang="en-US" sz="2000" b="0" i="0" dirty="0" err="1">
                <a:solidFill>
                  <a:srgbClr val="333333"/>
                </a:solidFill>
                <a:effectLst/>
              </a:rPr>
              <a:t>Shazly</a:t>
            </a:r>
            <a:r>
              <a:rPr lang="en-US" sz="2000" b="0" i="0" dirty="0">
                <a:solidFill>
                  <a:srgbClr val="333333"/>
                </a:solidFill>
                <a:effectLst/>
              </a:rPr>
              <a:t>, T., &amp; </a:t>
            </a:r>
            <a:r>
              <a:rPr lang="en-US" sz="2000" b="0" i="0" dirty="0" err="1">
                <a:solidFill>
                  <a:srgbClr val="333333"/>
                </a:solidFill>
                <a:effectLst/>
              </a:rPr>
              <a:t>Sediek</a:t>
            </a:r>
            <a:r>
              <a:rPr lang="en-US" sz="2000" b="0" i="0" dirty="0">
                <a:solidFill>
                  <a:srgbClr val="333333"/>
                </a:solidFill>
                <a:effectLst/>
              </a:rPr>
              <a:t>, K. (2019). Application of hydraulic flow units’ approach for improving reservoir characterization and predicting permeability. </a:t>
            </a:r>
            <a:r>
              <a:rPr lang="en-US" sz="2000" b="0" i="1" dirty="0">
                <a:solidFill>
                  <a:srgbClr val="333333"/>
                </a:solidFill>
                <a:effectLst/>
              </a:rPr>
              <a:t>Journal of Petroleum Exploration and Production Technology, 10</a:t>
            </a:r>
            <a:r>
              <a:rPr lang="en-US" sz="2000" b="0" dirty="0">
                <a:solidFill>
                  <a:srgbClr val="333333"/>
                </a:solidFill>
                <a:effectLst/>
              </a:rPr>
              <a:t>(2</a:t>
            </a:r>
            <a:r>
              <a:rPr lang="en-US" sz="2000" b="0" i="0" dirty="0">
                <a:solidFill>
                  <a:srgbClr val="333333"/>
                </a:solidFill>
                <a:effectLst/>
              </a:rPr>
              <a:t>). </a:t>
            </a:r>
            <a:r>
              <a:rPr lang="en-SG" sz="2000" b="0" i="0" dirty="0">
                <a:solidFill>
                  <a:srgbClr val="333333"/>
                </a:solidFill>
                <a:effectLst/>
              </a:rPr>
              <a:t>https://doi.org/10.1007/s13202-019-00758-7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FC6FB-FB45-6B94-3BE8-47B466BF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Slide </a:t>
            </a:r>
            <a:fld id="{EA47C1C1-E03C-4710-B8F6-102B1D3AFD6F}" type="slidenum">
              <a:rPr lang="en-GB" smtClean="0"/>
              <a:t>21</a:t>
            </a:fld>
            <a:r>
              <a:rPr lang="en-GB" dirty="0"/>
              <a:t> of 21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4AB267-D915-308A-5F67-39086B443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DCB19B8-D862-DA60-766F-9A169DE737C7}"/>
              </a:ext>
            </a:extLst>
          </p:cNvPr>
          <p:cNvCxnSpPr/>
          <p:nvPr/>
        </p:nvCxnSpPr>
        <p:spPr>
          <a:xfrm>
            <a:off x="0" y="1107255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8" name="Title 1">
            <a:extLst>
              <a:ext uri="{FF2B5EF4-FFF2-40B4-BE49-F238E27FC236}">
                <a16:creationId xmlns:a16="http://schemas.microsoft.com/office/drawing/2014/main" id="{0DA9C182-58C3-5CD5-8926-B2E0CA5A8CA8}"/>
              </a:ext>
            </a:extLst>
          </p:cNvPr>
          <p:cNvSpPr txBox="1">
            <a:spLocks/>
          </p:cNvSpPr>
          <p:nvPr/>
        </p:nvSpPr>
        <p:spPr>
          <a:xfrm>
            <a:off x="0" y="6492875"/>
            <a:ext cx="1712096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400"/>
              <a:t>ANL488 Presentation</a:t>
            </a: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26682120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28DD3B-FC3A-BB6A-0B7E-ED4111D2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15849"/>
            <a:ext cx="10515600" cy="488315"/>
          </a:xfrm>
        </p:spPr>
        <p:txBody>
          <a:bodyPr vert="horz">
            <a:noAutofit/>
          </a:bodyPr>
          <a:lstStyle/>
          <a:p>
            <a:r>
              <a:rPr lang="en-GB" sz="2400" dirty="0"/>
              <a:t>Previous Studie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31169F97-F06D-3347-4110-1AE71FAB111A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838200" y="1229541"/>
                <a:ext cx="10515600" cy="4966472"/>
              </a:xfrm>
            </p:spPr>
            <p:txBody>
              <a:bodyPr>
                <a:normAutofit/>
              </a:bodyPr>
              <a:lstStyle/>
              <a:p>
                <a:r>
                  <a:rPr lang="en-GB" sz="2000" dirty="0"/>
                  <a:t>Revolves around usage of Indices for rock typing</a:t>
                </a:r>
              </a:p>
              <a:p>
                <a:pPr lvl="1"/>
                <a:r>
                  <a:rPr lang="en-GB" sz="1800" dirty="0"/>
                  <a:t>Flow Zone Indicator (FZI)</a:t>
                </a:r>
              </a:p>
              <a:p>
                <a:pPr lvl="2"/>
                <a14:m>
                  <m:oMath xmlns:m="http://schemas.openxmlformats.org/officeDocument/2006/math"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𝐹𝑍𝐼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en-GB" sz="1400" i="1" dirty="0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b="0" i="1" dirty="0" smtClean="0">
                            <a:latin typeface="Cambria Math" panose="02040503050406030204" pitchFamily="18" charset="0"/>
                          </a:rPr>
                          <m:t>𝑅𝑄𝐼</m:t>
                        </m:r>
                      </m:num>
                      <m:den>
                        <m:sSub>
                          <m:sSubPr>
                            <m:ctrlPr>
                              <a:rPr lang="en-GB" sz="1400" i="1" dirty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GB" sz="1400" i="1" dirty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𝜑</m:t>
                            </m:r>
                          </m:e>
                          <m:sub>
                            <m:r>
                              <a:rPr lang="en-US" sz="1400" b="0" i="1" dirty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𝑧</m:t>
                            </m:r>
                          </m:sub>
                        </m:sSub>
                      </m:den>
                    </m:f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endParaRPr lang="en-GB" sz="1400" dirty="0"/>
              </a:p>
              <a:p>
                <a:pPr lvl="3"/>
                <a:r>
                  <a:rPr lang="en-GB" sz="1200" dirty="0"/>
                  <a:t>RQI – Rock Quality Index: </a:t>
                </a:r>
                <a14:m>
                  <m:oMath xmlns:m="http://schemas.openxmlformats.org/officeDocument/2006/math">
                    <m:r>
                      <a:rPr lang="en-US" sz="1200" b="0" i="1" smtClean="0">
                        <a:latin typeface="Cambria Math" panose="02040503050406030204" pitchFamily="18" charset="0"/>
                      </a:rPr>
                      <m:t>0.0314 </m:t>
                    </m:r>
                    <m:r>
                      <a:rPr lang="en-US" sz="12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rad>
                      <m:radPr>
                        <m:degHide m:val="on"/>
                        <m:ctrlPr>
                          <a:rPr lang="en-US" sz="12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radPr>
                      <m:deg/>
                      <m:e>
                        <m:f>
                          <m:fPr>
                            <m:ctrlPr>
                              <a:rPr lang="en-US" sz="12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2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</m:t>
                            </m:r>
                          </m:num>
                          <m:den>
                            <m:sSub>
                              <m:sSubPr>
                                <m:ctrlPr>
                                  <a:rPr lang="en-GB" sz="1200" i="1" dirty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GB" sz="1200" i="1" dirty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𝜑</m:t>
                                </m:r>
                              </m:e>
                              <m:sub>
                                <m:r>
                                  <a:rPr lang="en-US" sz="1200" i="1" dirty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𝑧</m:t>
                                </m:r>
                              </m:sub>
                            </m:sSub>
                          </m:den>
                        </m:f>
                      </m:e>
                    </m:rad>
                  </m:oMath>
                </a14:m>
                <a:endParaRPr lang="en-GB" sz="900" dirty="0"/>
              </a:p>
              <a:p>
                <a:pPr lvl="3"/>
                <a:r>
                  <a:rPr lang="en-GB" sz="12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k – </a:t>
                </a:r>
                <a:r>
                  <a:rPr lang="en-GB" sz="120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Permeability</a:t>
                </a:r>
              </a:p>
              <a:p>
                <a:pPr lvl="3"/>
                <a14:m>
                  <m:oMath xmlns:m="http://schemas.openxmlformats.org/officeDocument/2006/math">
                    <m:r>
                      <a:rPr lang="en-US" sz="12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𝜑</m:t>
                    </m:r>
                  </m:oMath>
                </a14:m>
                <a:r>
                  <a:rPr lang="en-GB" sz="12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 – </a:t>
                </a:r>
                <a:r>
                  <a:rPr lang="en-GB" sz="120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Porosity</a:t>
                </a:r>
              </a:p>
              <a:p>
                <a:pPr lvl="3"/>
                <a14:m>
                  <m:oMath xmlns:m="http://schemas.openxmlformats.org/officeDocument/2006/math">
                    <m:sSub>
                      <m:sSubPr>
                        <m:ctrlPr>
                          <a:rPr lang="en-GB" sz="120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200" i="1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𝜑</m:t>
                        </m:r>
                      </m:e>
                      <m:sub>
                        <m:r>
                          <a:rPr lang="en-US" sz="1200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𝑧</m:t>
                        </m:r>
                      </m:sub>
                    </m:sSub>
                  </m:oMath>
                </a14:m>
                <a:r>
                  <a:rPr lang="en-GB" sz="1200" dirty="0"/>
                  <a:t> - Normalized Porosity: 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GB" sz="1200" i="1" dirty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GB" sz="120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𝜑</m:t>
                        </m:r>
                      </m:num>
                      <m:den>
                        <m:r>
                          <a:rPr lang="en-US" sz="1200" b="0" i="1" dirty="0" smtClean="0">
                            <a:latin typeface="Cambria Math" panose="02040503050406030204" pitchFamily="18" charset="0"/>
                          </a:rPr>
                          <m:t>1−</m:t>
                        </m:r>
                        <m:r>
                          <a:rPr lang="en-US" sz="1200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𝜑</m:t>
                        </m:r>
                      </m:den>
                    </m:f>
                    <m:r>
                      <a:rPr lang="en-US" sz="1200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endParaRPr lang="en-GB" sz="1200" dirty="0"/>
              </a:p>
              <a:p>
                <a:r>
                  <a:rPr lang="en-GB" sz="2000" dirty="0"/>
                  <a:t>Machine learning with indices</a:t>
                </a:r>
              </a:p>
              <a:p>
                <a:r>
                  <a:rPr lang="en-GB" sz="2000" dirty="0"/>
                  <a:t>Rock Typing with Machine learning (standalone)</a:t>
                </a:r>
              </a:p>
              <a:p>
                <a:r>
                  <a:rPr lang="en-GB" sz="2000" dirty="0"/>
                  <a:t>What I aim to do:</a:t>
                </a:r>
              </a:p>
              <a:p>
                <a:pPr lvl="1"/>
                <a:r>
                  <a:rPr lang="en-GB" sz="1600" dirty="0"/>
                  <a:t>Compare the first method against the third</a:t>
                </a:r>
              </a:p>
              <a:p>
                <a:pPr lvl="1"/>
                <a:r>
                  <a:rPr lang="en-GB" sz="1600" dirty="0"/>
                  <a:t>Add value due time savings</a:t>
                </a:r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31169F97-F06D-3347-4110-1AE71FAB111A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38200" y="1229541"/>
                <a:ext cx="10515600" cy="4966472"/>
              </a:xfrm>
              <a:blipFill>
                <a:blip r:embed="rId6"/>
                <a:stretch>
                  <a:fillRect l="-522" t="-1351"/>
                </a:stretch>
              </a:blipFill>
            </p:spPr>
            <p:txBody>
              <a:bodyPr/>
              <a:lstStyle/>
              <a:p>
                <a:r>
                  <a:rPr lang="en-SG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FC6FB-FB45-6B94-3BE8-47B466BF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Slide </a:t>
            </a:r>
            <a:fld id="{EA47C1C1-E03C-4710-B8F6-102B1D3AFD6F}" type="slidenum">
              <a:rPr lang="en-GB" smtClean="0"/>
              <a:t>3</a:t>
            </a:fld>
            <a:r>
              <a:rPr lang="en-GB" dirty="0"/>
              <a:t> of 21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4AB267-D915-308A-5F67-39086B443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EC369D2-A77D-4C93-A683-B4E642BC3346}"/>
              </a:ext>
            </a:extLst>
          </p:cNvPr>
          <p:cNvCxnSpPr/>
          <p:nvPr/>
        </p:nvCxnSpPr>
        <p:spPr>
          <a:xfrm>
            <a:off x="0" y="1107255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B21042E6-9F07-64D5-BB2F-C915F55E6363}"/>
              </a:ext>
            </a:extLst>
          </p:cNvPr>
          <p:cNvSpPr txBox="1">
            <a:spLocks/>
          </p:cNvSpPr>
          <p:nvPr/>
        </p:nvSpPr>
        <p:spPr>
          <a:xfrm>
            <a:off x="0" y="6492875"/>
            <a:ext cx="1712096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400"/>
              <a:t>ANL488 Presentation</a:t>
            </a: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31376944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Diagram 11">
            <a:extLst>
              <a:ext uri="{FF2B5EF4-FFF2-40B4-BE49-F238E27FC236}">
                <a16:creationId xmlns:a16="http://schemas.microsoft.com/office/drawing/2014/main" id="{0E0EBF37-69D5-6099-9CBE-DE44D42E71F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97953089"/>
              </p:ext>
            </p:extLst>
          </p:nvPr>
        </p:nvGraphicFramePr>
        <p:xfrm>
          <a:off x="838200" y="2684172"/>
          <a:ext cx="10515600" cy="49664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28DD3B-FC3A-BB6A-0B7E-ED4111D2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15847"/>
            <a:ext cx="10515600" cy="488315"/>
          </a:xfrm>
        </p:spPr>
        <p:txBody>
          <a:bodyPr vert="horz">
            <a:noAutofit/>
          </a:bodyPr>
          <a:lstStyle/>
          <a:p>
            <a:r>
              <a:rPr lang="en-GB" sz="2400" dirty="0"/>
              <a:t>Dat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169F97-F06D-3347-4110-1AE71FAB11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10491"/>
            <a:ext cx="10515600" cy="4966472"/>
          </a:xfrm>
        </p:spPr>
        <p:txBody>
          <a:bodyPr>
            <a:normAutofit/>
          </a:bodyPr>
          <a:lstStyle/>
          <a:p>
            <a:r>
              <a:rPr lang="en-GB" sz="2000" dirty="0"/>
              <a:t>Publicly available core data from three regions (UK, USA and North Sea)</a:t>
            </a:r>
            <a:endParaRPr lang="en-GB" sz="1800" dirty="0"/>
          </a:p>
          <a:p>
            <a:r>
              <a:rPr lang="en-GB" sz="2000" dirty="0"/>
              <a:t>Columns needed were derived first</a:t>
            </a:r>
          </a:p>
          <a:p>
            <a:r>
              <a:rPr lang="en-GB" sz="2000" dirty="0"/>
              <a:t>All data were min-max normalized </a:t>
            </a:r>
          </a:p>
          <a:p>
            <a:r>
              <a:rPr lang="en-GB" sz="2000" dirty="0"/>
              <a:t>Cleaned data’s columns are mainly porosity and permeability</a:t>
            </a:r>
          </a:p>
          <a:p>
            <a:r>
              <a:rPr lang="en-GB" sz="2000" dirty="0"/>
              <a:t>Training of models done on UK first</a:t>
            </a:r>
          </a:p>
          <a:p>
            <a:r>
              <a:rPr lang="en-GB" sz="2000" dirty="0"/>
              <a:t>End Goal: Complete training on 2-3 reg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FC6FB-FB45-6B94-3BE8-47B466BF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10312"/>
            <a:ext cx="2743200" cy="365125"/>
          </a:xfrm>
        </p:spPr>
        <p:txBody>
          <a:bodyPr/>
          <a:lstStyle/>
          <a:p>
            <a:r>
              <a:rPr lang="en-GB" dirty="0"/>
              <a:t>Slide </a:t>
            </a:r>
            <a:fld id="{EA47C1C1-E03C-4710-B8F6-102B1D3AFD6F}" type="slidenum">
              <a:rPr lang="en-GB" smtClean="0"/>
              <a:t>4</a:t>
            </a:fld>
            <a:r>
              <a:rPr lang="en-GB" dirty="0"/>
              <a:t> of 21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4AB267-D915-308A-5F67-39086B443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803CCB4-71C9-73CA-7704-45F6308A8004}"/>
              </a:ext>
            </a:extLst>
          </p:cNvPr>
          <p:cNvCxnSpPr/>
          <p:nvPr/>
        </p:nvCxnSpPr>
        <p:spPr>
          <a:xfrm>
            <a:off x="0" y="1107255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AB46D005-5372-8126-911A-737BFAD67D2E}"/>
              </a:ext>
            </a:extLst>
          </p:cNvPr>
          <p:cNvSpPr txBox="1">
            <a:spLocks/>
          </p:cNvSpPr>
          <p:nvPr/>
        </p:nvSpPr>
        <p:spPr>
          <a:xfrm>
            <a:off x="0" y="6492875"/>
            <a:ext cx="1712096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400"/>
              <a:t>ANL488 Presentation</a:t>
            </a:r>
            <a:endParaRPr lang="en-GB" sz="14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CDFF538-7E65-F837-212F-A0BE8A43E0CB}"/>
              </a:ext>
            </a:extLst>
          </p:cNvPr>
          <p:cNvSpPr txBox="1"/>
          <p:nvPr/>
        </p:nvSpPr>
        <p:spPr>
          <a:xfrm>
            <a:off x="4260166" y="4462076"/>
            <a:ext cx="36716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General Dataset Preparation Process</a:t>
            </a:r>
            <a:endParaRPr lang="en-SG" dirty="0"/>
          </a:p>
        </p:txBody>
      </p:sp>
    </p:spTree>
    <p:extLst>
      <p:ext uri="{BB962C8B-B14F-4D97-AF65-F5344CB8AC3E}">
        <p14:creationId xmlns:p14="http://schemas.microsoft.com/office/powerpoint/2010/main" val="28902518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Diagram 16">
            <a:extLst>
              <a:ext uri="{FF2B5EF4-FFF2-40B4-BE49-F238E27FC236}">
                <a16:creationId xmlns:a16="http://schemas.microsoft.com/office/drawing/2014/main" id="{FC98E7EA-DFE2-AF3E-2068-99842D64B99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08717361"/>
              </p:ext>
            </p:extLst>
          </p:nvPr>
        </p:nvGraphicFramePr>
        <p:xfrm>
          <a:off x="838200" y="2684172"/>
          <a:ext cx="10515600" cy="49664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28DD3B-FC3A-BB6A-0B7E-ED4111D2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15847"/>
            <a:ext cx="10515600" cy="488315"/>
          </a:xfrm>
        </p:spPr>
        <p:txBody>
          <a:bodyPr vert="horz">
            <a:noAutofit/>
          </a:bodyPr>
          <a:lstStyle/>
          <a:p>
            <a:r>
              <a:rPr lang="en-GB" sz="2400" dirty="0"/>
              <a:t>Pre-Modelling Data Prepara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31169F97-F06D-3347-4110-1AE71FAB111A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838200" y="1210491"/>
                <a:ext cx="10515600" cy="4966472"/>
              </a:xfrm>
            </p:spPr>
            <p:txBody>
              <a:bodyPr>
                <a:normAutofit/>
              </a:bodyPr>
              <a:lstStyle/>
              <a:p>
                <a:r>
                  <a:rPr lang="en-GB" sz="2000" dirty="0"/>
                  <a:t>Data preparation needed for the traditional method (using FZI)</a:t>
                </a:r>
              </a:p>
              <a:p>
                <a:r>
                  <a:rPr lang="en-GB" sz="2000" dirty="0"/>
                  <a:t>Calculation of RQI, Porosity Index, FZI, Log RQI and Log Porosity Index</a:t>
                </a:r>
              </a:p>
              <a:p>
                <a:r>
                  <a:rPr lang="en-GB" sz="2000" dirty="0"/>
                  <a:t>Recap: </a:t>
                </a:r>
              </a:p>
              <a:p>
                <a:pPr lvl="1"/>
                <a14:m>
                  <m:oMath xmlns:m="http://schemas.openxmlformats.org/officeDocument/2006/math"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𝐹𝑍𝐼</m:t>
                    </m:r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en-GB" sz="1600" i="1" dirty="0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b="0" i="1" dirty="0" smtClean="0">
                            <a:latin typeface="Cambria Math" panose="02040503050406030204" pitchFamily="18" charset="0"/>
                          </a:rPr>
                          <m:t>𝑅𝑄𝐼</m:t>
                        </m:r>
                      </m:num>
                      <m:den>
                        <m:sSub>
                          <m:sSubPr>
                            <m:ctrlPr>
                              <a:rPr lang="en-GB" sz="1600" i="1" dirty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GB" sz="1600" i="1" dirty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𝜑</m:t>
                            </m:r>
                          </m:e>
                          <m:sub>
                            <m:r>
                              <a:rPr lang="en-US" sz="1600" b="0" i="1" dirty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𝑧</m:t>
                            </m:r>
                          </m:sub>
                        </m:sSub>
                      </m:den>
                    </m:f>
                  </m:oMath>
                </a14:m>
                <a:endParaRPr lang="en-US" sz="1600" b="0" dirty="0">
                  <a:ea typeface="Cambria Math" panose="02040503050406030204" pitchFamily="18" charset="0"/>
                </a:endParaRPr>
              </a:p>
              <a:p>
                <a:pPr lvl="1"/>
                <a:r>
                  <a:rPr lang="en-GB" sz="1600" dirty="0"/>
                  <a:t>RQI – Rock Quality Index: </a:t>
                </a:r>
                <a14:m>
                  <m:oMath xmlns:m="http://schemas.openxmlformats.org/officeDocument/2006/math"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0.0314 </m:t>
                    </m:r>
                    <m:r>
                      <a:rPr lang="en-US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rad>
                      <m:radPr>
                        <m:degHide m:val="on"/>
                        <m:ctrlPr>
                          <a:rPr lang="en-US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radPr>
                      <m:deg/>
                      <m:e>
                        <m:f>
                          <m:fPr>
                            <m:ctrlPr>
                              <a:rPr lang="en-US" sz="16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6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</m:t>
                            </m:r>
                          </m:num>
                          <m:den>
                            <m:r>
                              <a:rPr lang="en-US" sz="16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𝜑</m:t>
                            </m:r>
                          </m:den>
                        </m:f>
                      </m:e>
                    </m:rad>
                  </m:oMath>
                </a14:m>
                <a:endParaRPr lang="en-GB" sz="1600" dirty="0"/>
              </a:p>
              <a:p>
                <a:pPr lvl="1"/>
                <a:r>
                  <a:rPr lang="en-GB" sz="16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k – </a:t>
                </a:r>
                <a:r>
                  <a:rPr lang="en-GB" sz="160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Permeability</a:t>
                </a:r>
              </a:p>
              <a:p>
                <a:pPr lvl="1"/>
                <a14:m>
                  <m:oMath xmlns:m="http://schemas.openxmlformats.org/officeDocument/2006/math">
                    <m:r>
                      <a:rPr lang="en-US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𝜑</m:t>
                    </m:r>
                  </m:oMath>
                </a14:m>
                <a:r>
                  <a:rPr lang="en-GB" sz="1600" i="1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 – </a:t>
                </a:r>
                <a:r>
                  <a:rPr lang="en-GB" sz="160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Porosity</a:t>
                </a:r>
              </a:p>
              <a:p>
                <a:pPr lvl="1"/>
                <a14:m>
                  <m:oMath xmlns:m="http://schemas.openxmlformats.org/officeDocument/2006/math">
                    <m:sSub>
                      <m:sSubPr>
                        <m:ctrlPr>
                          <a:rPr lang="en-GB" sz="160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600" i="1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𝜑</m:t>
                        </m:r>
                      </m:e>
                      <m:sub>
                        <m:r>
                          <a:rPr lang="en-US" sz="1600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𝑧</m:t>
                        </m:r>
                      </m:sub>
                    </m:sSub>
                  </m:oMath>
                </a14:m>
                <a:r>
                  <a:rPr lang="en-GB" sz="1600" dirty="0"/>
                  <a:t> - Normalized Porosity: 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GB" sz="1600" i="1" dirty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GB" sz="160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𝜑</m:t>
                        </m:r>
                      </m:num>
                      <m:den>
                        <m:r>
                          <a:rPr lang="en-US" sz="1600" b="0" i="1" dirty="0" smtClean="0">
                            <a:latin typeface="Cambria Math" panose="02040503050406030204" pitchFamily="18" charset="0"/>
                          </a:rPr>
                          <m:t>1−</m:t>
                        </m:r>
                        <m:r>
                          <a:rPr lang="en-US" sz="1600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𝜑</m:t>
                        </m:r>
                      </m:den>
                    </m:f>
                    <m:r>
                      <a:rPr lang="en-US" sz="1600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GB" sz="1600" dirty="0"/>
                  <a:t> (Porosity Index)</a:t>
                </a:r>
              </a:p>
              <a:p>
                <a:pPr lvl="1"/>
                <a:endParaRPr lang="en-GB" sz="1600" dirty="0"/>
              </a:p>
              <a:p>
                <a:pPr lvl="1"/>
                <a:endParaRPr lang="en-GB" sz="1600" dirty="0"/>
              </a:p>
              <a:p>
                <a:pPr lvl="1"/>
                <a:endParaRPr lang="en-GB" sz="1600" dirty="0"/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31169F97-F06D-3347-4110-1AE71FAB111A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38200" y="1210491"/>
                <a:ext cx="10515600" cy="4966472"/>
              </a:xfrm>
              <a:blipFill>
                <a:blip r:embed="rId11"/>
                <a:stretch>
                  <a:fillRect l="-522" t="-1351"/>
                </a:stretch>
              </a:blipFill>
            </p:spPr>
            <p:txBody>
              <a:bodyPr/>
              <a:lstStyle/>
              <a:p>
                <a:r>
                  <a:rPr lang="en-SG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FC6FB-FB45-6B94-3BE8-47B466BF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Slide </a:t>
            </a:r>
            <a:fld id="{EA47C1C1-E03C-4710-B8F6-102B1D3AFD6F}" type="slidenum">
              <a:rPr lang="en-GB" smtClean="0"/>
              <a:t>5</a:t>
            </a:fld>
            <a:r>
              <a:rPr lang="en-GB" dirty="0"/>
              <a:t> of 21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4AB267-D915-308A-5F67-39086B443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803CCB4-71C9-73CA-7704-45F6308A8004}"/>
              </a:ext>
            </a:extLst>
          </p:cNvPr>
          <p:cNvCxnSpPr/>
          <p:nvPr/>
        </p:nvCxnSpPr>
        <p:spPr>
          <a:xfrm>
            <a:off x="0" y="1107255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AB46D005-5372-8126-911A-737BFAD67D2E}"/>
              </a:ext>
            </a:extLst>
          </p:cNvPr>
          <p:cNvSpPr txBox="1">
            <a:spLocks/>
          </p:cNvSpPr>
          <p:nvPr/>
        </p:nvSpPr>
        <p:spPr>
          <a:xfrm>
            <a:off x="0" y="6492875"/>
            <a:ext cx="1712096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400"/>
              <a:t>ANL488 Presentation</a:t>
            </a:r>
            <a:endParaRPr lang="en-GB" sz="1400" dirty="0"/>
          </a:p>
        </p:txBody>
      </p:sp>
      <p:sp>
        <p:nvSpPr>
          <p:cNvPr id="8" name="Arrow: Down 7">
            <a:extLst>
              <a:ext uri="{FF2B5EF4-FFF2-40B4-BE49-F238E27FC236}">
                <a16:creationId xmlns:a16="http://schemas.microsoft.com/office/drawing/2014/main" id="{E97CE4CD-73AC-DFE4-65E1-A4B06FE61AA3}"/>
              </a:ext>
            </a:extLst>
          </p:cNvPr>
          <p:cNvSpPr/>
          <p:nvPr/>
        </p:nvSpPr>
        <p:spPr>
          <a:xfrm>
            <a:off x="9080107" y="4306500"/>
            <a:ext cx="464233" cy="524908"/>
          </a:xfrm>
          <a:prstGeom prst="downArrow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ED999C8-F450-DAE3-6394-9CA4565C10D8}"/>
              </a:ext>
            </a:extLst>
          </p:cNvPr>
          <p:cNvSpPr txBox="1"/>
          <p:nvPr/>
        </p:nvSpPr>
        <p:spPr>
          <a:xfrm>
            <a:off x="4260166" y="4462076"/>
            <a:ext cx="36716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General Dataset Preparation Process</a:t>
            </a:r>
            <a:endParaRPr lang="en-SG" dirty="0"/>
          </a:p>
        </p:txBody>
      </p:sp>
    </p:spTree>
    <p:extLst>
      <p:ext uri="{BB962C8B-B14F-4D97-AF65-F5344CB8AC3E}">
        <p14:creationId xmlns:p14="http://schemas.microsoft.com/office/powerpoint/2010/main" val="22188135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28DD3B-FC3A-BB6A-0B7E-ED4111D2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15851"/>
            <a:ext cx="10515600" cy="488315"/>
          </a:xfrm>
        </p:spPr>
        <p:txBody>
          <a:bodyPr vert="horz">
            <a:noAutofit/>
          </a:bodyPr>
          <a:lstStyle/>
          <a:p>
            <a:r>
              <a:rPr lang="en-GB" sz="2400" dirty="0"/>
              <a:t>Modell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169F97-F06D-3347-4110-1AE71FAB11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58109"/>
            <a:ext cx="10515600" cy="4966472"/>
          </a:xfrm>
        </p:spPr>
        <p:txBody>
          <a:bodyPr>
            <a:normAutofit/>
          </a:bodyPr>
          <a:lstStyle/>
          <a:p>
            <a:r>
              <a:rPr lang="en-GB" sz="2000" dirty="0"/>
              <a:t>1 Industry standard and 3 unsupervised algorithms </a:t>
            </a:r>
          </a:p>
          <a:p>
            <a:r>
              <a:rPr lang="en-GB" sz="2000" dirty="0"/>
              <a:t>UK core data was trained first</a:t>
            </a:r>
          </a:p>
          <a:p>
            <a:r>
              <a:rPr lang="en-GB" sz="2000" dirty="0"/>
              <a:t>104,834 samples (rows), 4 features</a:t>
            </a:r>
          </a:p>
          <a:p>
            <a:r>
              <a:rPr lang="en-GB" sz="2000" dirty="0"/>
              <a:t>Results and comparison </a:t>
            </a:r>
          </a:p>
          <a:p>
            <a:r>
              <a:rPr lang="en-GB" sz="2000" dirty="0"/>
              <a:t>Repeat the process for other datasets (as many as possible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FC6FB-FB45-6B94-3BE8-47B466BF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Slide </a:t>
            </a:r>
            <a:fld id="{EA47C1C1-E03C-4710-B8F6-102B1D3AFD6F}" type="slidenum">
              <a:rPr lang="en-GB" smtClean="0"/>
              <a:t>6</a:t>
            </a:fld>
            <a:r>
              <a:rPr lang="en-GB" dirty="0"/>
              <a:t> of 21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4AB267-D915-308A-5F67-39086B443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7" name="Group 46">
            <a:extLst>
              <a:ext uri="{FF2B5EF4-FFF2-40B4-BE49-F238E27FC236}">
                <a16:creationId xmlns:a16="http://schemas.microsoft.com/office/drawing/2014/main" id="{991DD4AB-A7BF-6366-F247-0333051115E2}"/>
              </a:ext>
            </a:extLst>
          </p:cNvPr>
          <p:cNvGrpSpPr/>
          <p:nvPr/>
        </p:nvGrpSpPr>
        <p:grpSpPr>
          <a:xfrm>
            <a:off x="950359" y="3693727"/>
            <a:ext cx="10291282" cy="2230509"/>
            <a:chOff x="950359" y="3429000"/>
            <a:chExt cx="10291282" cy="2230509"/>
          </a:xfrm>
        </p:grpSpPr>
        <p:sp>
          <p:nvSpPr>
            <p:cNvPr id="43" name="Arrow: Right 42">
              <a:extLst>
                <a:ext uri="{FF2B5EF4-FFF2-40B4-BE49-F238E27FC236}">
                  <a16:creationId xmlns:a16="http://schemas.microsoft.com/office/drawing/2014/main" id="{74329A1A-5AB5-C143-882C-A726D4A6C67C}"/>
                </a:ext>
              </a:extLst>
            </p:cNvPr>
            <p:cNvSpPr/>
            <p:nvPr/>
          </p:nvSpPr>
          <p:spPr>
            <a:xfrm rot="10800000">
              <a:off x="6953763" y="5053330"/>
              <a:ext cx="380144" cy="349322"/>
            </a:xfrm>
            <a:prstGeom prst="rightArrow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B9A7CFB0-6177-9757-065E-98E828073B26}"/>
                </a:ext>
              </a:extLst>
            </p:cNvPr>
            <p:cNvGrpSpPr/>
            <p:nvPr/>
          </p:nvGrpSpPr>
          <p:grpSpPr>
            <a:xfrm>
              <a:off x="950359" y="3429000"/>
              <a:ext cx="10291282" cy="2230509"/>
              <a:chOff x="636997" y="3914453"/>
              <a:chExt cx="10291282" cy="2230509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D7C148DA-03B9-E79F-5F8B-918CAC32F3B0}"/>
                  </a:ext>
                </a:extLst>
              </p:cNvPr>
              <p:cNvSpPr/>
              <p:nvPr/>
            </p:nvSpPr>
            <p:spPr>
              <a:xfrm>
                <a:off x="636997" y="3914454"/>
                <a:ext cx="1541124" cy="863029"/>
              </a:xfrm>
              <a:prstGeom prst="rect">
                <a:avLst/>
              </a:prstGeom>
            </p:spPr>
            <p:style>
              <a:lnRef idx="3">
                <a:schemeClr val="lt1"/>
              </a:lnRef>
              <a:fillRef idx="1">
                <a:schemeClr val="accent3"/>
              </a:fillRef>
              <a:effectRef idx="1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Cleaned Data</a:t>
                </a:r>
                <a:endParaRPr lang="en-SG" dirty="0"/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D22DF2CD-27CA-C1F7-913A-BF194DED77A2}"/>
                  </a:ext>
                </a:extLst>
              </p:cNvPr>
              <p:cNvSpPr/>
              <p:nvPr/>
            </p:nvSpPr>
            <p:spPr>
              <a:xfrm>
                <a:off x="2804845" y="3914453"/>
                <a:ext cx="1541124" cy="863029"/>
              </a:xfrm>
              <a:prstGeom prst="rect">
                <a:avLst/>
              </a:prstGeom>
            </p:spPr>
            <p:style>
              <a:lnRef idx="3">
                <a:schemeClr val="lt1"/>
              </a:lnRef>
              <a:fillRef idx="1">
                <a:schemeClr val="accent3"/>
              </a:fillRef>
              <a:effectRef idx="1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Industry Standard Benchmark</a:t>
                </a:r>
                <a:endParaRPr lang="en-SG" dirty="0"/>
              </a:p>
            </p:txBody>
          </p:sp>
          <p:sp>
            <p:nvSpPr>
              <p:cNvPr id="10" name="Arrow: Right 9">
                <a:extLst>
                  <a:ext uri="{FF2B5EF4-FFF2-40B4-BE49-F238E27FC236}">
                    <a16:creationId xmlns:a16="http://schemas.microsoft.com/office/drawing/2014/main" id="{5E02AE52-72E4-2022-12AB-78B18D6A9B1B}"/>
                  </a:ext>
                </a:extLst>
              </p:cNvPr>
              <p:cNvSpPr/>
              <p:nvPr/>
            </p:nvSpPr>
            <p:spPr>
              <a:xfrm>
                <a:off x="2301411" y="4140485"/>
                <a:ext cx="380144" cy="349322"/>
              </a:xfrm>
              <a:prstGeom prst="rightArrow">
                <a:avLst/>
              </a:prstGeom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SG"/>
              </a:p>
            </p:txBody>
          </p:sp>
          <p:sp>
            <p:nvSpPr>
              <p:cNvPr id="12" name="Arrow: Right 11">
                <a:extLst>
                  <a:ext uri="{FF2B5EF4-FFF2-40B4-BE49-F238E27FC236}">
                    <a16:creationId xmlns:a16="http://schemas.microsoft.com/office/drawing/2014/main" id="{DE92E94F-A1E7-56BE-4647-E529CFC0675F}"/>
                  </a:ext>
                </a:extLst>
              </p:cNvPr>
              <p:cNvSpPr/>
              <p:nvPr/>
            </p:nvSpPr>
            <p:spPr>
              <a:xfrm>
                <a:off x="4469259" y="4140485"/>
                <a:ext cx="380144" cy="349322"/>
              </a:xfrm>
              <a:prstGeom prst="rightArrow">
                <a:avLst/>
              </a:prstGeom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SG"/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E94914AB-2037-0452-0273-9C0019D0B8AB}"/>
                  </a:ext>
                </a:extLst>
              </p:cNvPr>
              <p:cNvSpPr/>
              <p:nvPr/>
            </p:nvSpPr>
            <p:spPr>
              <a:xfrm>
                <a:off x="4972693" y="3914453"/>
                <a:ext cx="1541124" cy="863029"/>
              </a:xfrm>
              <a:prstGeom prst="rect">
                <a:avLst/>
              </a:prstGeom>
            </p:spPr>
            <p:style>
              <a:lnRef idx="3">
                <a:schemeClr val="lt1"/>
              </a:lnRef>
              <a:fillRef idx="1">
                <a:schemeClr val="accent3"/>
              </a:fillRef>
              <a:effectRef idx="1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 err="1"/>
                  <a:t>KMeans</a:t>
                </a:r>
                <a:endParaRPr lang="en-SG" dirty="0"/>
              </a:p>
            </p:txBody>
          </p:sp>
          <p:sp>
            <p:nvSpPr>
              <p:cNvPr id="16" name="Arrow: Right 15">
                <a:extLst>
                  <a:ext uri="{FF2B5EF4-FFF2-40B4-BE49-F238E27FC236}">
                    <a16:creationId xmlns:a16="http://schemas.microsoft.com/office/drawing/2014/main" id="{944E0233-5FC9-A444-31B5-FDB262B42FA3}"/>
                  </a:ext>
                </a:extLst>
              </p:cNvPr>
              <p:cNvSpPr/>
              <p:nvPr/>
            </p:nvSpPr>
            <p:spPr>
              <a:xfrm>
                <a:off x="6637107" y="4140485"/>
                <a:ext cx="380144" cy="349322"/>
              </a:xfrm>
              <a:prstGeom prst="rightArrow">
                <a:avLst/>
              </a:prstGeom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SG"/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251B364B-F189-05F0-E5BB-A84497063662}"/>
                  </a:ext>
                </a:extLst>
              </p:cNvPr>
              <p:cNvSpPr/>
              <p:nvPr/>
            </p:nvSpPr>
            <p:spPr>
              <a:xfrm>
                <a:off x="7140541" y="3914453"/>
                <a:ext cx="1541124" cy="863029"/>
              </a:xfrm>
              <a:prstGeom prst="rect">
                <a:avLst/>
              </a:prstGeom>
            </p:spPr>
            <p:style>
              <a:lnRef idx="3">
                <a:schemeClr val="lt1"/>
              </a:lnRef>
              <a:fillRef idx="1">
                <a:schemeClr val="accent3"/>
              </a:fillRef>
              <a:effectRef idx="1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SOM + </a:t>
                </a:r>
                <a:r>
                  <a:rPr lang="en-US" dirty="0" err="1"/>
                  <a:t>KMeans</a:t>
                </a:r>
                <a:endParaRPr lang="en-SG" dirty="0"/>
              </a:p>
            </p:txBody>
          </p:sp>
          <p:sp>
            <p:nvSpPr>
              <p:cNvPr id="20" name="Arrow: Right 19">
                <a:extLst>
                  <a:ext uri="{FF2B5EF4-FFF2-40B4-BE49-F238E27FC236}">
                    <a16:creationId xmlns:a16="http://schemas.microsoft.com/office/drawing/2014/main" id="{CBD2A3CB-8B2B-8258-8D9F-F51D579B5DE9}"/>
                  </a:ext>
                </a:extLst>
              </p:cNvPr>
              <p:cNvSpPr/>
              <p:nvPr/>
            </p:nvSpPr>
            <p:spPr>
              <a:xfrm>
                <a:off x="8883721" y="4140485"/>
                <a:ext cx="380144" cy="349322"/>
              </a:xfrm>
              <a:prstGeom prst="rightArrow">
                <a:avLst/>
              </a:prstGeom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SG"/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075083BB-9ED7-283E-E733-6918A546D956}"/>
                  </a:ext>
                </a:extLst>
              </p:cNvPr>
              <p:cNvSpPr/>
              <p:nvPr/>
            </p:nvSpPr>
            <p:spPr>
              <a:xfrm>
                <a:off x="9387155" y="3914453"/>
                <a:ext cx="1541124" cy="863029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3">
                <a:schemeClr val="lt1"/>
              </a:lnRef>
              <a:fillRef idx="1">
                <a:schemeClr val="accent3"/>
              </a:fillRef>
              <a:effectRef idx="1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DBSCAN</a:t>
                </a:r>
                <a:endParaRPr lang="en-SG" dirty="0"/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BB9CDBD5-6953-B4E3-AB57-9192F7F1D8CF}"/>
                  </a:ext>
                </a:extLst>
              </p:cNvPr>
              <p:cNvSpPr/>
              <p:nvPr/>
            </p:nvSpPr>
            <p:spPr>
              <a:xfrm>
                <a:off x="9387155" y="5281933"/>
                <a:ext cx="1541124" cy="863029"/>
              </a:xfrm>
              <a:prstGeom prst="rect">
                <a:avLst/>
              </a:prstGeom>
              <a:noFill/>
              <a:ln w="9525" cap="flat" cmpd="sng" algn="ctr">
                <a:solidFill>
                  <a:schemeClr val="accent3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accent3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BIRCH</a:t>
                </a:r>
                <a:endParaRPr lang="en-SG" dirty="0"/>
              </a:p>
            </p:txBody>
          </p:sp>
          <p:sp>
            <p:nvSpPr>
              <p:cNvPr id="32" name="Arrow: Right 31">
                <a:extLst>
                  <a:ext uri="{FF2B5EF4-FFF2-40B4-BE49-F238E27FC236}">
                    <a16:creationId xmlns:a16="http://schemas.microsoft.com/office/drawing/2014/main" id="{EBCD9508-1793-39FA-BABC-9C0239693650}"/>
                  </a:ext>
                </a:extLst>
              </p:cNvPr>
              <p:cNvSpPr/>
              <p:nvPr/>
            </p:nvSpPr>
            <p:spPr>
              <a:xfrm rot="10800000">
                <a:off x="8883721" y="5538785"/>
                <a:ext cx="380144" cy="349322"/>
              </a:xfrm>
              <a:prstGeom prst="rightArrow">
                <a:avLst/>
              </a:prstGeom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SG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210D0E61-D440-CD55-8CE5-225287403EFE}"/>
                  </a:ext>
                </a:extLst>
              </p:cNvPr>
              <p:cNvSpPr/>
              <p:nvPr/>
            </p:nvSpPr>
            <p:spPr>
              <a:xfrm>
                <a:off x="7142385" y="5281931"/>
                <a:ext cx="1541124" cy="863029"/>
              </a:xfrm>
              <a:prstGeom prst="rect">
                <a:avLst/>
              </a:prstGeom>
              <a:noFill/>
              <a:ln w="9525" cap="flat" cmpd="sng" algn="ctr">
                <a:solidFill>
                  <a:schemeClr val="accent3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accent3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Gaussian Mixture Model </a:t>
                </a:r>
                <a:endParaRPr lang="en-SG" dirty="0"/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81360EDF-2C40-E1FB-3B82-C2C2AD484B12}"/>
                  </a:ext>
                </a:extLst>
              </p:cNvPr>
              <p:cNvSpPr/>
              <p:nvPr/>
            </p:nvSpPr>
            <p:spPr>
              <a:xfrm>
                <a:off x="4970848" y="5281930"/>
                <a:ext cx="1541124" cy="863029"/>
              </a:xfrm>
              <a:prstGeom prst="rect">
                <a:avLst/>
              </a:prstGeom>
            </p:spPr>
            <p:style>
              <a:lnRef idx="3">
                <a:schemeClr val="lt1"/>
              </a:lnRef>
              <a:fillRef idx="1">
                <a:schemeClr val="accent3"/>
              </a:fillRef>
              <a:effectRef idx="1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Compare and Evaluate</a:t>
                </a:r>
                <a:endParaRPr lang="en-SG" dirty="0"/>
              </a:p>
            </p:txBody>
          </p:sp>
          <p:sp>
            <p:nvSpPr>
              <p:cNvPr id="41" name="Arrow: Down 40">
                <a:extLst>
                  <a:ext uri="{FF2B5EF4-FFF2-40B4-BE49-F238E27FC236}">
                    <a16:creationId xmlns:a16="http://schemas.microsoft.com/office/drawing/2014/main" id="{70251DC0-66DC-5FD0-5EE3-4989C66191FE}"/>
                  </a:ext>
                </a:extLst>
              </p:cNvPr>
              <p:cNvSpPr/>
              <p:nvPr/>
            </p:nvSpPr>
            <p:spPr>
              <a:xfrm>
                <a:off x="9989417" y="4864690"/>
                <a:ext cx="380144" cy="349322"/>
              </a:xfrm>
              <a:prstGeom prst="downArrow">
                <a:avLst/>
              </a:prstGeom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SG"/>
              </a:p>
            </p:txBody>
          </p:sp>
          <p:sp>
            <p:nvSpPr>
              <p:cNvPr id="44" name="Arrow: Bent-Up 43">
                <a:extLst>
                  <a:ext uri="{FF2B5EF4-FFF2-40B4-BE49-F238E27FC236}">
                    <a16:creationId xmlns:a16="http://schemas.microsoft.com/office/drawing/2014/main" id="{0FC2C4AD-4F8F-6900-0E87-DA2219F5BFE0}"/>
                  </a:ext>
                </a:extLst>
              </p:cNvPr>
              <p:cNvSpPr/>
              <p:nvPr/>
            </p:nvSpPr>
            <p:spPr>
              <a:xfrm flipH="1">
                <a:off x="1231134" y="4998254"/>
                <a:ext cx="3314191" cy="863029"/>
              </a:xfrm>
              <a:prstGeom prst="bentUpArrow">
                <a:avLst>
                  <a:gd name="adj1" fmla="val 25000"/>
                  <a:gd name="adj2" fmla="val 25000"/>
                  <a:gd name="adj3" fmla="val 50000"/>
                </a:avLst>
              </a:prstGeom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SG"/>
              </a:p>
            </p:txBody>
          </p: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4AAFD4C7-8218-5E51-B6AC-A35B8AA69051}"/>
                  </a:ext>
                </a:extLst>
              </p:cNvPr>
              <p:cNvSpPr txBox="1"/>
              <p:nvPr/>
            </p:nvSpPr>
            <p:spPr>
              <a:xfrm>
                <a:off x="1649405" y="5292556"/>
                <a:ext cx="2567416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/>
                  <a:t>Repeat for other datasets</a:t>
                </a:r>
                <a:endParaRPr lang="en-SG" dirty="0"/>
              </a:p>
            </p:txBody>
          </p:sp>
        </p:grpSp>
      </p:grp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036AC80-D576-C151-E950-68E73DFBF310}"/>
              </a:ext>
            </a:extLst>
          </p:cNvPr>
          <p:cNvCxnSpPr/>
          <p:nvPr/>
        </p:nvCxnSpPr>
        <p:spPr>
          <a:xfrm>
            <a:off x="0" y="1107255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BA5C8DA7-27FE-8322-BDFE-FCAB0ACA0AB1}"/>
              </a:ext>
            </a:extLst>
          </p:cNvPr>
          <p:cNvSpPr txBox="1">
            <a:spLocks/>
          </p:cNvSpPr>
          <p:nvPr/>
        </p:nvSpPr>
        <p:spPr>
          <a:xfrm>
            <a:off x="0" y="6492875"/>
            <a:ext cx="1712096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400"/>
              <a:t>ANL488 Presentation</a:t>
            </a: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20170179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28DD3B-FC3A-BB6A-0B7E-ED4111D2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18347"/>
            <a:ext cx="10515600" cy="488315"/>
          </a:xfrm>
        </p:spPr>
        <p:txBody>
          <a:bodyPr vert="horz">
            <a:noAutofit/>
          </a:bodyPr>
          <a:lstStyle/>
          <a:p>
            <a:r>
              <a:rPr lang="en-GB" sz="2400" dirty="0"/>
              <a:t>Traditional Method Select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169F97-F06D-3347-4110-1AE71FAB11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10491"/>
            <a:ext cx="10515600" cy="4966472"/>
          </a:xfrm>
        </p:spPr>
        <p:txBody>
          <a:bodyPr>
            <a:normAutofit/>
          </a:bodyPr>
          <a:lstStyle/>
          <a:p>
            <a:r>
              <a:rPr lang="en-GB" sz="2000" dirty="0"/>
              <a:t>Method – Iterative multi-linear regression (IMLR) (Khalid et. al., 2019)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GB" sz="1600" dirty="0"/>
              <a:t>Plot scatter plot log normalized porosity (x-axis) against log RQI (y-axis)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GB" sz="1600" dirty="0"/>
              <a:t>Guess intercept value based on mean FZI for each visible straight line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GB" sz="1600" dirty="0"/>
              <a:t>Lines selected based on the points 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GB" sz="1600" dirty="0"/>
              <a:t>Line all have slope = 1 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GB" sz="1600" dirty="0"/>
              <a:t>Allocate samples to closest line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GB" sz="1600" dirty="0"/>
              <a:t>Calculate new intercept using least square regression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GB" sz="1600" dirty="0"/>
              <a:t>Re-adjust lines if difference is too big</a:t>
            </a:r>
          </a:p>
          <a:p>
            <a:r>
              <a:rPr lang="en-GB" sz="2000" dirty="0"/>
              <a:t>Other Methods </a:t>
            </a:r>
          </a:p>
          <a:p>
            <a:pPr lvl="1"/>
            <a:r>
              <a:rPr lang="en-GB" sz="1600" dirty="0"/>
              <a:t>Histogram Analysis</a:t>
            </a:r>
          </a:p>
          <a:p>
            <a:pPr lvl="2"/>
            <a:r>
              <a:rPr lang="en-GB" sz="1200" dirty="0"/>
              <a:t>Log </a:t>
            </a:r>
            <a:r>
              <a:rPr lang="en-GB" sz="1200" dirty="0" err="1"/>
              <a:t>fzi</a:t>
            </a:r>
            <a:endParaRPr lang="en-GB" sz="1200" dirty="0"/>
          </a:p>
          <a:p>
            <a:pPr lvl="1"/>
            <a:r>
              <a:rPr lang="en-GB" sz="1600" dirty="0"/>
              <a:t>Normal Probability Plot</a:t>
            </a:r>
          </a:p>
          <a:p>
            <a:pPr lvl="2"/>
            <a:r>
              <a:rPr lang="en-GB" sz="1200" dirty="0"/>
              <a:t>Log </a:t>
            </a:r>
            <a:r>
              <a:rPr lang="en-GB" sz="1200" dirty="0" err="1"/>
              <a:t>fzi</a:t>
            </a:r>
            <a:endParaRPr lang="en-GB" sz="1200" dirty="0"/>
          </a:p>
          <a:p>
            <a:pPr lvl="1"/>
            <a:endParaRPr lang="en-GB" sz="1600" dirty="0"/>
          </a:p>
          <a:p>
            <a:endParaRPr lang="en-GB" sz="1400" dirty="0"/>
          </a:p>
          <a:p>
            <a:pPr lvl="1"/>
            <a:endParaRPr lang="en-GB" sz="1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FC6FB-FB45-6B94-3BE8-47B466BF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Slide </a:t>
            </a:r>
            <a:fld id="{EA47C1C1-E03C-4710-B8F6-102B1D3AFD6F}" type="slidenum">
              <a:rPr lang="en-GB" smtClean="0"/>
              <a:t>7</a:t>
            </a:fld>
            <a:r>
              <a:rPr lang="en-GB" dirty="0"/>
              <a:t> of 21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4AB267-D915-308A-5F67-39086B443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9E729F8-6383-A4CC-F44D-95B6919E0F66}"/>
              </a:ext>
            </a:extLst>
          </p:cNvPr>
          <p:cNvCxnSpPr/>
          <p:nvPr/>
        </p:nvCxnSpPr>
        <p:spPr>
          <a:xfrm>
            <a:off x="0" y="1107255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8" name="Title 1">
            <a:extLst>
              <a:ext uri="{FF2B5EF4-FFF2-40B4-BE49-F238E27FC236}">
                <a16:creationId xmlns:a16="http://schemas.microsoft.com/office/drawing/2014/main" id="{75370FBE-AF75-1AE5-45AA-751B0E8873B2}"/>
              </a:ext>
            </a:extLst>
          </p:cNvPr>
          <p:cNvSpPr txBox="1">
            <a:spLocks/>
          </p:cNvSpPr>
          <p:nvPr/>
        </p:nvSpPr>
        <p:spPr>
          <a:xfrm>
            <a:off x="0" y="6492875"/>
            <a:ext cx="1712096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400"/>
              <a:t>ANL488 Presentation</a:t>
            </a: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41228528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28DD3B-FC3A-BB6A-0B7E-ED4111D2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18347"/>
            <a:ext cx="10515600" cy="488315"/>
          </a:xfrm>
        </p:spPr>
        <p:txBody>
          <a:bodyPr vert="horz">
            <a:noAutofit/>
          </a:bodyPr>
          <a:lstStyle/>
          <a:p>
            <a:r>
              <a:rPr lang="en-GB" sz="2400" dirty="0"/>
              <a:t>Failure of Traditional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169F97-F06D-3347-4110-1AE71FAB11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10491"/>
            <a:ext cx="10515600" cy="4966472"/>
          </a:xfrm>
        </p:spPr>
        <p:txBody>
          <a:bodyPr>
            <a:normAutofit/>
          </a:bodyPr>
          <a:lstStyle/>
          <a:p>
            <a:r>
              <a:rPr lang="en-GB" sz="2000" dirty="0"/>
              <a:t>Method Requirement</a:t>
            </a:r>
          </a:p>
          <a:p>
            <a:pPr lvl="1"/>
            <a:r>
              <a:rPr lang="en-GB" sz="1600" dirty="0"/>
              <a:t> there must be clear separation in the log-log plot to select initial lines</a:t>
            </a:r>
          </a:p>
          <a:p>
            <a:r>
              <a:rPr lang="en-GB" sz="2000" dirty="0"/>
              <a:t>Failure – method not feasible due to data too close</a:t>
            </a:r>
          </a:p>
          <a:p>
            <a:r>
              <a:rPr lang="en-GB" sz="2000" dirty="0"/>
              <a:t>Failure -&gt; limited traditional method</a:t>
            </a:r>
          </a:p>
          <a:p>
            <a:r>
              <a:rPr lang="en-GB" sz="2000" dirty="0"/>
              <a:t>Proposed method – own method (adapted from different sources)</a:t>
            </a:r>
          </a:p>
          <a:p>
            <a:pPr lvl="1"/>
            <a:endParaRPr lang="en-GB" sz="1600" dirty="0"/>
          </a:p>
          <a:p>
            <a:endParaRPr lang="en-GB" sz="1400" dirty="0"/>
          </a:p>
          <a:p>
            <a:pPr lvl="1"/>
            <a:endParaRPr lang="en-GB" sz="1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FC6FB-FB45-6B94-3BE8-47B466BF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Slide </a:t>
            </a:r>
            <a:fld id="{EA47C1C1-E03C-4710-B8F6-102B1D3AFD6F}" type="slidenum">
              <a:rPr lang="en-GB" smtClean="0"/>
              <a:t>8</a:t>
            </a:fld>
            <a:r>
              <a:rPr lang="en-GB" dirty="0"/>
              <a:t> of 21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4AB267-D915-308A-5F67-39086B443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9E729F8-6383-A4CC-F44D-95B6919E0F66}"/>
              </a:ext>
            </a:extLst>
          </p:cNvPr>
          <p:cNvCxnSpPr/>
          <p:nvPr/>
        </p:nvCxnSpPr>
        <p:spPr>
          <a:xfrm>
            <a:off x="0" y="1107255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8" name="Title 1">
            <a:extLst>
              <a:ext uri="{FF2B5EF4-FFF2-40B4-BE49-F238E27FC236}">
                <a16:creationId xmlns:a16="http://schemas.microsoft.com/office/drawing/2014/main" id="{75370FBE-AF75-1AE5-45AA-751B0E8873B2}"/>
              </a:ext>
            </a:extLst>
          </p:cNvPr>
          <p:cNvSpPr txBox="1">
            <a:spLocks/>
          </p:cNvSpPr>
          <p:nvPr/>
        </p:nvSpPr>
        <p:spPr>
          <a:xfrm>
            <a:off x="0" y="6492875"/>
            <a:ext cx="1712096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400"/>
              <a:t>ANL488 Presentation</a:t>
            </a:r>
            <a:endParaRPr lang="en-GB" sz="14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BF9D382-AD66-0273-32D7-D8E3AB7F905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6048" y="3429000"/>
            <a:ext cx="3759393" cy="2540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65194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782F68-1BC5-0CC5-9CB3-FA9ACCB8BF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782F68-1BC5-0CC5-9CB3-FA9ACCB8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28DD3B-FC3A-BB6A-0B7E-ED4111D2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18347"/>
            <a:ext cx="10515600" cy="488315"/>
          </a:xfrm>
        </p:spPr>
        <p:txBody>
          <a:bodyPr vert="horz">
            <a:noAutofit/>
          </a:bodyPr>
          <a:lstStyle/>
          <a:p>
            <a:r>
              <a:rPr lang="en-GB" sz="2400" dirty="0"/>
              <a:t>Methods Employ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169F97-F06D-3347-4110-1AE71FAB11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66697" y="1247774"/>
            <a:ext cx="2686054" cy="365125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en-GB" sz="1600" dirty="0"/>
              <a:t>Flow Zone </a:t>
            </a:r>
            <a:r>
              <a:rPr lang="en-GB" sz="1600" dirty="0" err="1"/>
              <a:t>Inzdicator</a:t>
            </a:r>
            <a:r>
              <a:rPr lang="en-GB" sz="1600" dirty="0"/>
              <a:t> (FZI) [Own Method]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FC6FB-FB45-6B94-3BE8-47B466BFE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Slide </a:t>
            </a:r>
            <a:fld id="{EA47C1C1-E03C-4710-B8F6-102B1D3AFD6F}" type="slidenum">
              <a:rPr lang="en-GB" smtClean="0"/>
              <a:t>9</a:t>
            </a:fld>
            <a:r>
              <a:rPr lang="en-GB" dirty="0"/>
              <a:t> of 21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34AB267-D915-308A-5F67-39086B443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075" y="-146580"/>
            <a:ext cx="2838450" cy="157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9E729F8-6383-A4CC-F44D-95B6919E0F66}"/>
              </a:ext>
            </a:extLst>
          </p:cNvPr>
          <p:cNvCxnSpPr/>
          <p:nvPr/>
        </p:nvCxnSpPr>
        <p:spPr>
          <a:xfrm>
            <a:off x="0" y="1107255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8" name="Title 1">
            <a:extLst>
              <a:ext uri="{FF2B5EF4-FFF2-40B4-BE49-F238E27FC236}">
                <a16:creationId xmlns:a16="http://schemas.microsoft.com/office/drawing/2014/main" id="{75370FBE-AF75-1AE5-45AA-751B0E8873B2}"/>
              </a:ext>
            </a:extLst>
          </p:cNvPr>
          <p:cNvSpPr txBox="1">
            <a:spLocks/>
          </p:cNvSpPr>
          <p:nvPr/>
        </p:nvSpPr>
        <p:spPr>
          <a:xfrm>
            <a:off x="0" y="6492875"/>
            <a:ext cx="1712096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400"/>
              <a:t>ANL488 Presentation</a:t>
            </a:r>
            <a:endParaRPr lang="en-GB" sz="1400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7CE3398-F506-25FA-0CEE-2E86F29F4550}"/>
              </a:ext>
            </a:extLst>
          </p:cNvPr>
          <p:cNvSpPr txBox="1">
            <a:spLocks/>
          </p:cNvSpPr>
          <p:nvPr/>
        </p:nvSpPr>
        <p:spPr>
          <a:xfrm>
            <a:off x="8523347" y="1247774"/>
            <a:ext cx="1010381" cy="3651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GB" sz="1600" dirty="0" err="1"/>
              <a:t>KMeans</a:t>
            </a:r>
            <a:endParaRPr lang="en-GB" sz="1600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FEF17E9-00D8-DA5C-62D9-1B6D34F66B0C}"/>
              </a:ext>
            </a:extLst>
          </p:cNvPr>
          <p:cNvCxnSpPr/>
          <p:nvPr/>
        </p:nvCxnSpPr>
        <p:spPr>
          <a:xfrm>
            <a:off x="6177126" y="1393052"/>
            <a:ext cx="0" cy="4684191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D1AB6C6A-12E5-745D-B84E-3DD860CD80A3}"/>
              </a:ext>
            </a:extLst>
          </p:cNvPr>
          <p:cNvSpPr/>
          <p:nvPr/>
        </p:nvSpPr>
        <p:spPr>
          <a:xfrm>
            <a:off x="1889943" y="1753417"/>
            <a:ext cx="2129423" cy="365124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Plot Log-Log Scatter (Porosity index [x-ax] vs RQI [y-ax])</a:t>
            </a:r>
            <a:endParaRPr lang="en-SG" sz="12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E429964-CD71-2DE7-CF87-E1356AC6FAE4}"/>
              </a:ext>
            </a:extLst>
          </p:cNvPr>
          <p:cNvSpPr/>
          <p:nvPr/>
        </p:nvSpPr>
        <p:spPr>
          <a:xfrm>
            <a:off x="2441264" y="2611815"/>
            <a:ext cx="1043090" cy="365124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Fit data</a:t>
            </a:r>
            <a:endParaRPr lang="en-SG" sz="1200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42EFF71-8510-565D-98B1-94B3CCFB0422}"/>
              </a:ext>
            </a:extLst>
          </p:cNvPr>
          <p:cNvSpPr/>
          <p:nvPr/>
        </p:nvSpPr>
        <p:spPr>
          <a:xfrm>
            <a:off x="2209147" y="3067142"/>
            <a:ext cx="1507325" cy="365124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Predict Y with X</a:t>
            </a:r>
            <a:endParaRPr lang="en-SG" sz="1200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6907BB3-22C8-A1ED-1D4D-5BE77A3E6A6A}"/>
              </a:ext>
            </a:extLst>
          </p:cNvPr>
          <p:cNvSpPr/>
          <p:nvPr/>
        </p:nvSpPr>
        <p:spPr>
          <a:xfrm>
            <a:off x="2516958" y="3521849"/>
            <a:ext cx="909453" cy="365124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Find R^2</a:t>
            </a:r>
            <a:endParaRPr lang="en-SG" sz="1200" dirty="0"/>
          </a:p>
        </p:txBody>
      </p:sp>
      <p:sp>
        <p:nvSpPr>
          <p:cNvPr id="20" name="Flowchart: Decision 19">
            <a:extLst>
              <a:ext uri="{FF2B5EF4-FFF2-40B4-BE49-F238E27FC236}">
                <a16:creationId xmlns:a16="http://schemas.microsoft.com/office/drawing/2014/main" id="{9AF27426-E4F5-5B85-1F50-6CB29139029F}"/>
              </a:ext>
            </a:extLst>
          </p:cNvPr>
          <p:cNvSpPr/>
          <p:nvPr/>
        </p:nvSpPr>
        <p:spPr>
          <a:xfrm>
            <a:off x="2441263" y="3977798"/>
            <a:ext cx="1043083" cy="921259"/>
          </a:xfrm>
          <a:prstGeom prst="flowChartDecision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50" dirty="0"/>
              <a:t>Loop Reach 10</a:t>
            </a:r>
            <a:endParaRPr lang="en-SG" sz="1050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C81DD9E-2177-5035-8406-23A16DE72CE0}"/>
              </a:ext>
            </a:extLst>
          </p:cNvPr>
          <p:cNvSpPr/>
          <p:nvPr/>
        </p:nvSpPr>
        <p:spPr>
          <a:xfrm>
            <a:off x="2209141" y="4978720"/>
            <a:ext cx="1507325" cy="365124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Split data according to  iteration number</a:t>
            </a:r>
            <a:endParaRPr lang="en-SG" sz="12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F267FD0-1844-3405-61FB-109E0E9ED4EA}"/>
              </a:ext>
            </a:extLst>
          </p:cNvPr>
          <p:cNvSpPr/>
          <p:nvPr/>
        </p:nvSpPr>
        <p:spPr>
          <a:xfrm>
            <a:off x="2215127" y="5423507"/>
            <a:ext cx="1507325" cy="365124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Train, fit, predict LR for each split portion</a:t>
            </a:r>
            <a:endParaRPr lang="en-SG" sz="1200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15480EB-0138-212B-B1C7-9E24FDC37BE0}"/>
              </a:ext>
            </a:extLst>
          </p:cNvPr>
          <p:cNvSpPr/>
          <p:nvPr/>
        </p:nvSpPr>
        <p:spPr>
          <a:xfrm>
            <a:off x="2441256" y="2201589"/>
            <a:ext cx="1043090" cy="365124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Plot Linear Reg line</a:t>
            </a:r>
            <a:endParaRPr lang="en-SG" sz="1200" dirty="0"/>
          </a:p>
        </p:txBody>
      </p:sp>
      <p:sp>
        <p:nvSpPr>
          <p:cNvPr id="28" name="Speech Bubble: Rectangle 27">
            <a:extLst>
              <a:ext uri="{FF2B5EF4-FFF2-40B4-BE49-F238E27FC236}">
                <a16:creationId xmlns:a16="http://schemas.microsoft.com/office/drawing/2014/main" id="{06DFD961-ADDF-3C49-0CFD-5F73A9644E88}"/>
              </a:ext>
            </a:extLst>
          </p:cNvPr>
          <p:cNvSpPr/>
          <p:nvPr/>
        </p:nvSpPr>
        <p:spPr>
          <a:xfrm>
            <a:off x="1118895" y="4675944"/>
            <a:ext cx="764352" cy="745587"/>
          </a:xfrm>
          <a:prstGeom prst="wedgeRectCallout">
            <a:avLst>
              <a:gd name="adj1" fmla="val 70510"/>
              <a:gd name="adj2" fmla="val 17217"/>
            </a:avLst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50" dirty="0"/>
              <a:t>Due to dataset being sorted by </a:t>
            </a:r>
            <a:r>
              <a:rPr lang="en-US" sz="1050" dirty="0" err="1"/>
              <a:t>fzi</a:t>
            </a:r>
            <a:endParaRPr lang="en-SG" sz="105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3AD8A31-E536-C156-52B1-313E1EDF07E8}"/>
              </a:ext>
            </a:extLst>
          </p:cNvPr>
          <p:cNvSpPr/>
          <p:nvPr/>
        </p:nvSpPr>
        <p:spPr>
          <a:xfrm>
            <a:off x="2215061" y="5869612"/>
            <a:ext cx="1507325" cy="365124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Take average R^2</a:t>
            </a:r>
            <a:endParaRPr lang="en-SG" sz="12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148818C-7BF4-E07C-9777-410C7F4D0D97}"/>
              </a:ext>
            </a:extLst>
          </p:cNvPr>
          <p:cNvSpPr/>
          <p:nvPr/>
        </p:nvSpPr>
        <p:spPr>
          <a:xfrm>
            <a:off x="3772750" y="4124752"/>
            <a:ext cx="1202783" cy="627349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Compare using R^2 vs no. of clusters plot</a:t>
            </a:r>
            <a:endParaRPr lang="en-SG" sz="1200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B12DEE8-C909-2E7C-51FD-BF685CBE153E}"/>
              </a:ext>
            </a:extLst>
          </p:cNvPr>
          <p:cNvSpPr/>
          <p:nvPr/>
        </p:nvSpPr>
        <p:spPr>
          <a:xfrm>
            <a:off x="3765699" y="4842422"/>
            <a:ext cx="1202783" cy="365124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Select Optimal Cluster number</a:t>
            </a:r>
            <a:endParaRPr lang="en-SG" sz="1200" dirty="0"/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654B1385-9F1A-06F1-3B5F-C7D612BCF492}"/>
              </a:ext>
            </a:extLst>
          </p:cNvPr>
          <p:cNvCxnSpPr>
            <a:cxnSpLocks/>
            <a:stCxn id="9" idx="2"/>
            <a:endCxn id="26" idx="0"/>
          </p:cNvCxnSpPr>
          <p:nvPr/>
        </p:nvCxnSpPr>
        <p:spPr>
          <a:xfrm>
            <a:off x="2954655" y="2118541"/>
            <a:ext cx="8146" cy="830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D4FC6E47-E683-DFCC-FD36-1864BB9E909C}"/>
              </a:ext>
            </a:extLst>
          </p:cNvPr>
          <p:cNvCxnSpPr>
            <a:cxnSpLocks/>
            <a:stCxn id="26" idx="2"/>
            <a:endCxn id="12" idx="0"/>
          </p:cNvCxnSpPr>
          <p:nvPr/>
        </p:nvCxnSpPr>
        <p:spPr>
          <a:xfrm>
            <a:off x="2962801" y="2566713"/>
            <a:ext cx="8" cy="4510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916849DD-EB9A-53AF-D734-DEA94C4D27DD}"/>
              </a:ext>
            </a:extLst>
          </p:cNvPr>
          <p:cNvCxnSpPr>
            <a:stCxn id="12" idx="2"/>
            <a:endCxn id="17" idx="0"/>
          </p:cNvCxnSpPr>
          <p:nvPr/>
        </p:nvCxnSpPr>
        <p:spPr>
          <a:xfrm>
            <a:off x="2962809" y="2976939"/>
            <a:ext cx="1" cy="902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D78D4784-5A02-0814-8D18-E677E2BE4111}"/>
              </a:ext>
            </a:extLst>
          </p:cNvPr>
          <p:cNvCxnSpPr>
            <a:cxnSpLocks/>
            <a:stCxn id="17" idx="2"/>
            <a:endCxn id="19" idx="0"/>
          </p:cNvCxnSpPr>
          <p:nvPr/>
        </p:nvCxnSpPr>
        <p:spPr>
          <a:xfrm>
            <a:off x="2962810" y="3432266"/>
            <a:ext cx="8875" cy="895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DDECC624-8FB4-E271-B48C-42BE549E75F8}"/>
              </a:ext>
            </a:extLst>
          </p:cNvPr>
          <p:cNvCxnSpPr>
            <a:cxnSpLocks/>
            <a:stCxn id="19" idx="2"/>
            <a:endCxn id="20" idx="0"/>
          </p:cNvCxnSpPr>
          <p:nvPr/>
        </p:nvCxnSpPr>
        <p:spPr>
          <a:xfrm flipH="1">
            <a:off x="2962805" y="3886973"/>
            <a:ext cx="8880" cy="908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586CE2A0-BE1F-DEB1-A87A-079CA687DA54}"/>
              </a:ext>
            </a:extLst>
          </p:cNvPr>
          <p:cNvCxnSpPr>
            <a:stCxn id="20" idx="2"/>
            <a:endCxn id="22" idx="0"/>
          </p:cNvCxnSpPr>
          <p:nvPr/>
        </p:nvCxnSpPr>
        <p:spPr>
          <a:xfrm flipH="1">
            <a:off x="2962804" y="4899057"/>
            <a:ext cx="1" cy="796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CF015066-AADC-04A8-16E4-72494243880F}"/>
              </a:ext>
            </a:extLst>
          </p:cNvPr>
          <p:cNvCxnSpPr>
            <a:stCxn id="22" idx="2"/>
            <a:endCxn id="24" idx="0"/>
          </p:cNvCxnSpPr>
          <p:nvPr/>
        </p:nvCxnSpPr>
        <p:spPr>
          <a:xfrm>
            <a:off x="2962804" y="5343844"/>
            <a:ext cx="5986" cy="796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EC5AA7F5-CA64-F515-1F80-C826568CDBB0}"/>
              </a:ext>
            </a:extLst>
          </p:cNvPr>
          <p:cNvCxnSpPr>
            <a:stCxn id="24" idx="2"/>
            <a:endCxn id="30" idx="0"/>
          </p:cNvCxnSpPr>
          <p:nvPr/>
        </p:nvCxnSpPr>
        <p:spPr>
          <a:xfrm flipH="1">
            <a:off x="2968724" y="5788631"/>
            <a:ext cx="66" cy="8098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Connector: Elbow 56">
            <a:extLst>
              <a:ext uri="{FF2B5EF4-FFF2-40B4-BE49-F238E27FC236}">
                <a16:creationId xmlns:a16="http://schemas.microsoft.com/office/drawing/2014/main" id="{9203CC3A-1E54-9068-629F-1263A0411C9E}"/>
              </a:ext>
            </a:extLst>
          </p:cNvPr>
          <p:cNvCxnSpPr>
            <a:stCxn id="30" idx="2"/>
            <a:endCxn id="20" idx="1"/>
          </p:cNvCxnSpPr>
          <p:nvPr/>
        </p:nvCxnSpPr>
        <p:spPr>
          <a:xfrm rot="5400000" flipH="1">
            <a:off x="1806840" y="5072852"/>
            <a:ext cx="1796308" cy="527461"/>
          </a:xfrm>
          <a:prstGeom prst="bentConnector4">
            <a:avLst>
              <a:gd name="adj1" fmla="val -12726"/>
              <a:gd name="adj2" fmla="val 167555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id="{BF566634-37B9-F872-B9C9-8B9CFF3C56FA}"/>
              </a:ext>
            </a:extLst>
          </p:cNvPr>
          <p:cNvSpPr txBox="1"/>
          <p:nvPr/>
        </p:nvSpPr>
        <p:spPr>
          <a:xfrm>
            <a:off x="2584712" y="4752101"/>
            <a:ext cx="3869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No</a:t>
            </a:r>
            <a:endParaRPr lang="en-SG" sz="1200" dirty="0"/>
          </a:p>
        </p:txBody>
      </p: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A30C291D-CB38-08A1-789C-032908509D9F}"/>
              </a:ext>
            </a:extLst>
          </p:cNvPr>
          <p:cNvCxnSpPr>
            <a:stCxn id="20" idx="3"/>
            <a:endCxn id="32" idx="1"/>
          </p:cNvCxnSpPr>
          <p:nvPr/>
        </p:nvCxnSpPr>
        <p:spPr>
          <a:xfrm flipV="1">
            <a:off x="3484346" y="4438427"/>
            <a:ext cx="288404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3" name="TextBox 62">
            <a:extLst>
              <a:ext uri="{FF2B5EF4-FFF2-40B4-BE49-F238E27FC236}">
                <a16:creationId xmlns:a16="http://schemas.microsoft.com/office/drawing/2014/main" id="{FA5D0E62-E124-CBFF-AFB8-D2EFE2521A10}"/>
              </a:ext>
            </a:extLst>
          </p:cNvPr>
          <p:cNvSpPr txBox="1"/>
          <p:nvPr/>
        </p:nvSpPr>
        <p:spPr>
          <a:xfrm>
            <a:off x="3410559" y="4185110"/>
            <a:ext cx="3869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Yes</a:t>
            </a:r>
            <a:endParaRPr lang="en-SG" sz="1200" dirty="0"/>
          </a:p>
        </p:txBody>
      </p: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C8EFF801-DB5A-1005-5F61-35AB20FAC962}"/>
              </a:ext>
            </a:extLst>
          </p:cNvPr>
          <p:cNvCxnSpPr>
            <a:stCxn id="32" idx="2"/>
            <a:endCxn id="34" idx="0"/>
          </p:cNvCxnSpPr>
          <p:nvPr/>
        </p:nvCxnSpPr>
        <p:spPr>
          <a:xfrm flipH="1">
            <a:off x="4367091" y="4752101"/>
            <a:ext cx="7051" cy="903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1" name="Rectangle 70">
            <a:extLst>
              <a:ext uri="{FF2B5EF4-FFF2-40B4-BE49-F238E27FC236}">
                <a16:creationId xmlns:a16="http://schemas.microsoft.com/office/drawing/2014/main" id="{E989D22C-771C-A25B-0CDB-82FE074FE85D}"/>
              </a:ext>
            </a:extLst>
          </p:cNvPr>
          <p:cNvSpPr/>
          <p:nvPr/>
        </p:nvSpPr>
        <p:spPr>
          <a:xfrm>
            <a:off x="3765698" y="5273290"/>
            <a:ext cx="1202783" cy="365124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Train using optimal cluster</a:t>
            </a:r>
            <a:endParaRPr lang="en-SG" sz="1200" dirty="0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0EDE5C54-6F0D-7870-7833-50EFCBEC9A13}"/>
              </a:ext>
            </a:extLst>
          </p:cNvPr>
          <p:cNvSpPr/>
          <p:nvPr/>
        </p:nvSpPr>
        <p:spPr>
          <a:xfrm>
            <a:off x="3765410" y="5706586"/>
            <a:ext cx="1202783" cy="663831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Tag cluster labels to unnormalized data</a:t>
            </a:r>
            <a:endParaRPr lang="en-SG" sz="1200" dirty="0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C8905D28-10B6-7910-9D9D-A0B62F6BBFA1}"/>
              </a:ext>
            </a:extLst>
          </p:cNvPr>
          <p:cNvSpPr/>
          <p:nvPr/>
        </p:nvSpPr>
        <p:spPr>
          <a:xfrm>
            <a:off x="3681645" y="6439357"/>
            <a:ext cx="1370887" cy="324322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Generate cluster summary</a:t>
            </a:r>
            <a:endParaRPr lang="en-SG" sz="1200" dirty="0"/>
          </a:p>
        </p:txBody>
      </p: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E20E4F12-64D6-7354-1BF2-C5A00E944335}"/>
              </a:ext>
            </a:extLst>
          </p:cNvPr>
          <p:cNvCxnSpPr>
            <a:stCxn id="32" idx="2"/>
            <a:endCxn id="34" idx="0"/>
          </p:cNvCxnSpPr>
          <p:nvPr/>
        </p:nvCxnSpPr>
        <p:spPr>
          <a:xfrm flipH="1">
            <a:off x="4367091" y="4752101"/>
            <a:ext cx="7051" cy="903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1" name="Straight Arrow Connector 80">
            <a:extLst>
              <a:ext uri="{FF2B5EF4-FFF2-40B4-BE49-F238E27FC236}">
                <a16:creationId xmlns:a16="http://schemas.microsoft.com/office/drawing/2014/main" id="{5554C621-8625-4499-3A8C-73EFCE2A50DE}"/>
              </a:ext>
            </a:extLst>
          </p:cNvPr>
          <p:cNvCxnSpPr>
            <a:cxnSpLocks/>
            <a:stCxn id="34" idx="2"/>
            <a:endCxn id="71" idx="0"/>
          </p:cNvCxnSpPr>
          <p:nvPr/>
        </p:nvCxnSpPr>
        <p:spPr>
          <a:xfrm flipH="1">
            <a:off x="4367090" y="5207546"/>
            <a:ext cx="1" cy="657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F447F248-CCF6-B481-4966-0FA0A39177D7}"/>
              </a:ext>
            </a:extLst>
          </p:cNvPr>
          <p:cNvCxnSpPr>
            <a:cxnSpLocks/>
            <a:stCxn id="71" idx="2"/>
            <a:endCxn id="73" idx="0"/>
          </p:cNvCxnSpPr>
          <p:nvPr/>
        </p:nvCxnSpPr>
        <p:spPr>
          <a:xfrm flipH="1">
            <a:off x="4366802" y="5638414"/>
            <a:ext cx="288" cy="681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710FBC1C-78BC-CB61-CF3E-B08B14B31FC1}"/>
              </a:ext>
            </a:extLst>
          </p:cNvPr>
          <p:cNvCxnSpPr>
            <a:cxnSpLocks/>
            <a:stCxn id="73" idx="2"/>
            <a:endCxn id="75" idx="0"/>
          </p:cNvCxnSpPr>
          <p:nvPr/>
        </p:nvCxnSpPr>
        <p:spPr>
          <a:xfrm>
            <a:off x="4366802" y="6370417"/>
            <a:ext cx="287" cy="689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8" name="Rectangle 87">
            <a:extLst>
              <a:ext uri="{FF2B5EF4-FFF2-40B4-BE49-F238E27FC236}">
                <a16:creationId xmlns:a16="http://schemas.microsoft.com/office/drawing/2014/main" id="{B4C5F4DC-836B-3035-8D01-20051FEAFDFE}"/>
              </a:ext>
            </a:extLst>
          </p:cNvPr>
          <p:cNvSpPr/>
          <p:nvPr/>
        </p:nvSpPr>
        <p:spPr>
          <a:xfrm>
            <a:off x="7204093" y="2794576"/>
            <a:ext cx="1550877" cy="365124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Loop range(1,11)</a:t>
            </a:r>
            <a:endParaRPr lang="en-SG" sz="1200" dirty="0"/>
          </a:p>
        </p:txBody>
      </p:sp>
      <p:sp>
        <p:nvSpPr>
          <p:cNvPr id="90" name="Flowchart: Decision 89">
            <a:extLst>
              <a:ext uri="{FF2B5EF4-FFF2-40B4-BE49-F238E27FC236}">
                <a16:creationId xmlns:a16="http://schemas.microsoft.com/office/drawing/2014/main" id="{713D5E67-E645-3903-000F-537EA6601A2A}"/>
              </a:ext>
            </a:extLst>
          </p:cNvPr>
          <p:cNvSpPr/>
          <p:nvPr/>
        </p:nvSpPr>
        <p:spPr>
          <a:xfrm>
            <a:off x="7457989" y="3282458"/>
            <a:ext cx="1043083" cy="921259"/>
          </a:xfrm>
          <a:prstGeom prst="flowChartDecision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50" dirty="0"/>
              <a:t>Loop Reach 11</a:t>
            </a:r>
            <a:endParaRPr lang="en-SG" sz="1050" dirty="0"/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76B8685A-AFCD-367E-F2F5-7CA1D87FEF8E}"/>
              </a:ext>
            </a:extLst>
          </p:cNvPr>
          <p:cNvSpPr/>
          <p:nvPr/>
        </p:nvSpPr>
        <p:spPr>
          <a:xfrm>
            <a:off x="7204091" y="4338402"/>
            <a:ext cx="1550877" cy="365124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Fit </a:t>
            </a:r>
            <a:r>
              <a:rPr lang="en-US" sz="1200" dirty="0" err="1"/>
              <a:t>KMeans</a:t>
            </a:r>
            <a:r>
              <a:rPr lang="en-US" sz="1200" dirty="0"/>
              <a:t> with dataset </a:t>
            </a:r>
            <a:endParaRPr lang="en-SG" sz="1200" dirty="0"/>
          </a:p>
        </p:txBody>
      </p:sp>
      <p:sp>
        <p:nvSpPr>
          <p:cNvPr id="94" name="Speech Bubble: Rectangle 93">
            <a:extLst>
              <a:ext uri="{FF2B5EF4-FFF2-40B4-BE49-F238E27FC236}">
                <a16:creationId xmlns:a16="http://schemas.microsoft.com/office/drawing/2014/main" id="{4B50A8EA-849F-07AB-967F-45E4CBE79740}"/>
              </a:ext>
            </a:extLst>
          </p:cNvPr>
          <p:cNvSpPr/>
          <p:nvPr/>
        </p:nvSpPr>
        <p:spPr>
          <a:xfrm>
            <a:off x="4108266" y="1978023"/>
            <a:ext cx="764352" cy="745587"/>
          </a:xfrm>
          <a:prstGeom prst="wedgeRectCallout">
            <a:avLst>
              <a:gd name="adj1" fmla="val -80409"/>
              <a:gd name="adj2" fmla="val 5896"/>
            </a:avLst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50" dirty="0"/>
              <a:t>On the whole dataset</a:t>
            </a:r>
            <a:endParaRPr lang="en-SG" sz="1050" dirty="0"/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DDAF6D3E-7576-0C8C-EE25-09EAB94D396B}"/>
              </a:ext>
            </a:extLst>
          </p:cNvPr>
          <p:cNvSpPr/>
          <p:nvPr/>
        </p:nvSpPr>
        <p:spPr>
          <a:xfrm>
            <a:off x="7204091" y="4801909"/>
            <a:ext cx="1550877" cy="365124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Store inertia value in a list</a:t>
            </a:r>
            <a:endParaRPr lang="en-SG" sz="1200" dirty="0"/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B49061BC-0091-5C13-5578-301070327B9F}"/>
              </a:ext>
            </a:extLst>
          </p:cNvPr>
          <p:cNvSpPr/>
          <p:nvPr/>
        </p:nvSpPr>
        <p:spPr>
          <a:xfrm>
            <a:off x="7210760" y="5216378"/>
            <a:ext cx="1550877" cy="365124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Store iteration value in a list</a:t>
            </a:r>
            <a:endParaRPr lang="en-SG" sz="1200" dirty="0"/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E224ADA1-26F7-F102-3FA7-3882EEABA828}"/>
              </a:ext>
            </a:extLst>
          </p:cNvPr>
          <p:cNvSpPr/>
          <p:nvPr/>
        </p:nvSpPr>
        <p:spPr>
          <a:xfrm>
            <a:off x="9169009" y="3573786"/>
            <a:ext cx="1550877" cy="365124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Plot Inertia plot</a:t>
            </a:r>
            <a:endParaRPr lang="en-SG" sz="1200" dirty="0"/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8CBEFBE3-C575-EA00-E18E-A414BD06F304}"/>
              </a:ext>
            </a:extLst>
          </p:cNvPr>
          <p:cNvSpPr/>
          <p:nvPr/>
        </p:nvSpPr>
        <p:spPr>
          <a:xfrm>
            <a:off x="9169008" y="4515594"/>
            <a:ext cx="1550877" cy="365124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Select optimal cluster</a:t>
            </a:r>
            <a:endParaRPr lang="en-SG" sz="1200" dirty="0"/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917CAF79-2B99-E022-6D04-549ABDDF384B}"/>
              </a:ext>
            </a:extLst>
          </p:cNvPr>
          <p:cNvSpPr/>
          <p:nvPr/>
        </p:nvSpPr>
        <p:spPr>
          <a:xfrm>
            <a:off x="9199829" y="5463910"/>
            <a:ext cx="1550877" cy="361952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Tag cluster labels to unnormalized data</a:t>
            </a:r>
            <a:endParaRPr lang="en-SG" sz="1200" dirty="0"/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FE16E2A6-0C49-2C89-3DF6-DDC83FA8C0EE}"/>
              </a:ext>
            </a:extLst>
          </p:cNvPr>
          <p:cNvSpPr/>
          <p:nvPr/>
        </p:nvSpPr>
        <p:spPr>
          <a:xfrm>
            <a:off x="9293173" y="5903208"/>
            <a:ext cx="1370887" cy="324322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Generate cluster summary</a:t>
            </a:r>
            <a:endParaRPr lang="en-SG" sz="1200" dirty="0"/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65B0B91F-FB29-7DE2-5271-D9DC9AA97262}"/>
              </a:ext>
            </a:extLst>
          </p:cNvPr>
          <p:cNvSpPr/>
          <p:nvPr/>
        </p:nvSpPr>
        <p:spPr>
          <a:xfrm>
            <a:off x="9169007" y="4049363"/>
            <a:ext cx="1550877" cy="365124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Get the different Metric values</a:t>
            </a:r>
            <a:endParaRPr lang="en-SG" sz="1200" dirty="0"/>
          </a:p>
        </p:txBody>
      </p:sp>
      <p:sp>
        <p:nvSpPr>
          <p:cNvPr id="116" name="Speech Bubble: Rectangle 115">
            <a:extLst>
              <a:ext uri="{FF2B5EF4-FFF2-40B4-BE49-F238E27FC236}">
                <a16:creationId xmlns:a16="http://schemas.microsoft.com/office/drawing/2014/main" id="{CB28442D-7795-0EC3-BBFA-31A827BC0EEB}"/>
              </a:ext>
            </a:extLst>
          </p:cNvPr>
          <p:cNvSpPr/>
          <p:nvPr/>
        </p:nvSpPr>
        <p:spPr>
          <a:xfrm>
            <a:off x="7472426" y="1844854"/>
            <a:ext cx="764352" cy="745587"/>
          </a:xfrm>
          <a:prstGeom prst="wedgeRectCallout">
            <a:avLst>
              <a:gd name="adj1" fmla="val 11615"/>
              <a:gd name="adj2" fmla="val 66273"/>
            </a:avLst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50" dirty="0"/>
              <a:t>All Algorithm tested with 1-10 clusters</a:t>
            </a:r>
            <a:endParaRPr lang="en-SG" sz="1050" dirty="0"/>
          </a:p>
        </p:txBody>
      </p:sp>
      <p:sp>
        <p:nvSpPr>
          <p:cNvPr id="118" name="Speech Bubble: Rectangle 117">
            <a:extLst>
              <a:ext uri="{FF2B5EF4-FFF2-40B4-BE49-F238E27FC236}">
                <a16:creationId xmlns:a16="http://schemas.microsoft.com/office/drawing/2014/main" id="{BCC14A85-46DF-A119-0F11-6AD000D6A3C8}"/>
              </a:ext>
            </a:extLst>
          </p:cNvPr>
          <p:cNvSpPr/>
          <p:nvPr/>
        </p:nvSpPr>
        <p:spPr>
          <a:xfrm>
            <a:off x="10003473" y="2458721"/>
            <a:ext cx="1043083" cy="745587"/>
          </a:xfrm>
          <a:prstGeom prst="wedgeRectCallout">
            <a:avLst>
              <a:gd name="adj1" fmla="val 12710"/>
              <a:gd name="adj2" fmla="val 198349"/>
            </a:avLst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50" dirty="0"/>
              <a:t>Will be covered in subsequent slides</a:t>
            </a:r>
            <a:endParaRPr lang="en-SG" sz="1050" dirty="0"/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1F6F9058-607B-EDFB-8DCE-2889647E4D4E}"/>
              </a:ext>
            </a:extLst>
          </p:cNvPr>
          <p:cNvSpPr/>
          <p:nvPr/>
        </p:nvSpPr>
        <p:spPr>
          <a:xfrm>
            <a:off x="9180720" y="4982633"/>
            <a:ext cx="1569986" cy="365124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Train using optimal cluster</a:t>
            </a:r>
            <a:endParaRPr lang="en-SG" sz="1200" dirty="0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AF877DAD-9B4A-7D20-B9F1-9433E1D2A525}"/>
              </a:ext>
            </a:extLst>
          </p:cNvPr>
          <p:cNvCxnSpPr>
            <a:stCxn id="88" idx="2"/>
            <a:endCxn id="90" idx="0"/>
          </p:cNvCxnSpPr>
          <p:nvPr/>
        </p:nvCxnSpPr>
        <p:spPr>
          <a:xfrm flipH="1">
            <a:off x="7979531" y="3159700"/>
            <a:ext cx="1" cy="1227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81F839BE-5D99-FE2D-F80D-F0F92D244FB4}"/>
              </a:ext>
            </a:extLst>
          </p:cNvPr>
          <p:cNvCxnSpPr>
            <a:stCxn id="90" idx="2"/>
            <a:endCxn id="92" idx="0"/>
          </p:cNvCxnSpPr>
          <p:nvPr/>
        </p:nvCxnSpPr>
        <p:spPr>
          <a:xfrm flipH="1">
            <a:off x="7979530" y="4203717"/>
            <a:ext cx="1" cy="1346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0FACAA9-D08A-361C-B319-5A5C485780D6}"/>
              </a:ext>
            </a:extLst>
          </p:cNvPr>
          <p:cNvCxnSpPr>
            <a:stCxn id="92" idx="2"/>
            <a:endCxn id="96" idx="0"/>
          </p:cNvCxnSpPr>
          <p:nvPr/>
        </p:nvCxnSpPr>
        <p:spPr>
          <a:xfrm>
            <a:off x="7979530" y="4703526"/>
            <a:ext cx="0" cy="983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65FB7EA5-E285-245E-1B1B-A36E3B78F520}"/>
              </a:ext>
            </a:extLst>
          </p:cNvPr>
          <p:cNvCxnSpPr>
            <a:stCxn id="96" idx="2"/>
            <a:endCxn id="98" idx="0"/>
          </p:cNvCxnSpPr>
          <p:nvPr/>
        </p:nvCxnSpPr>
        <p:spPr>
          <a:xfrm>
            <a:off x="7979530" y="5167033"/>
            <a:ext cx="6669" cy="4934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926258D7-3BA4-0C2E-EF42-487FA5A9D3BF}"/>
              </a:ext>
            </a:extLst>
          </p:cNvPr>
          <p:cNvCxnSpPr>
            <a:cxnSpLocks/>
            <a:stCxn id="98" idx="2"/>
            <a:endCxn id="90" idx="1"/>
          </p:cNvCxnSpPr>
          <p:nvPr/>
        </p:nvCxnSpPr>
        <p:spPr>
          <a:xfrm rot="5400000" flipH="1">
            <a:off x="6802887" y="4398190"/>
            <a:ext cx="1838414" cy="528210"/>
          </a:xfrm>
          <a:prstGeom prst="bentConnector4">
            <a:avLst>
              <a:gd name="adj1" fmla="val -12435"/>
              <a:gd name="adj2" fmla="val 166742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2258F1DE-3FA1-E322-D5E3-8D6988E61EC2}"/>
              </a:ext>
            </a:extLst>
          </p:cNvPr>
          <p:cNvSpPr txBox="1"/>
          <p:nvPr/>
        </p:nvSpPr>
        <p:spPr>
          <a:xfrm>
            <a:off x="7535373" y="4046437"/>
            <a:ext cx="3869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No</a:t>
            </a:r>
            <a:endParaRPr lang="en-SG" sz="1200" dirty="0"/>
          </a:p>
        </p:txBody>
      </p: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4DB3EB66-E413-AC68-19A9-DE37E73DA495}"/>
              </a:ext>
            </a:extLst>
          </p:cNvPr>
          <p:cNvCxnSpPr>
            <a:stCxn id="90" idx="3"/>
            <a:endCxn id="100" idx="1"/>
          </p:cNvCxnSpPr>
          <p:nvPr/>
        </p:nvCxnSpPr>
        <p:spPr>
          <a:xfrm>
            <a:off x="8501072" y="3743088"/>
            <a:ext cx="667937" cy="132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D8B48F15-869B-A7C9-08D4-7630E8610370}"/>
              </a:ext>
            </a:extLst>
          </p:cNvPr>
          <p:cNvSpPr txBox="1"/>
          <p:nvPr/>
        </p:nvSpPr>
        <p:spPr>
          <a:xfrm>
            <a:off x="8541133" y="3495713"/>
            <a:ext cx="3869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Yes</a:t>
            </a:r>
            <a:endParaRPr lang="en-SG" sz="1200" dirty="0"/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5BD7D15D-BC6E-E6E7-5798-E703098173CD}"/>
              </a:ext>
            </a:extLst>
          </p:cNvPr>
          <p:cNvCxnSpPr>
            <a:stCxn id="100" idx="2"/>
            <a:endCxn id="110" idx="0"/>
          </p:cNvCxnSpPr>
          <p:nvPr/>
        </p:nvCxnSpPr>
        <p:spPr>
          <a:xfrm flipH="1">
            <a:off x="9944446" y="3938910"/>
            <a:ext cx="2" cy="1104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FB1B943A-8E68-09A0-8231-F0219A0D79B0}"/>
              </a:ext>
            </a:extLst>
          </p:cNvPr>
          <p:cNvCxnSpPr>
            <a:stCxn id="110" idx="2"/>
            <a:endCxn id="102" idx="0"/>
          </p:cNvCxnSpPr>
          <p:nvPr/>
        </p:nvCxnSpPr>
        <p:spPr>
          <a:xfrm>
            <a:off x="9944446" y="4414487"/>
            <a:ext cx="1" cy="10110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E7BE3BFE-6D5D-7C0A-8B59-E5E6860DE18A}"/>
              </a:ext>
            </a:extLst>
          </p:cNvPr>
          <p:cNvCxnSpPr>
            <a:stCxn id="102" idx="2"/>
            <a:endCxn id="124" idx="0"/>
          </p:cNvCxnSpPr>
          <p:nvPr/>
        </p:nvCxnSpPr>
        <p:spPr>
          <a:xfrm>
            <a:off x="9944447" y="4880718"/>
            <a:ext cx="21266" cy="1019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3AE9B73B-661B-AFA6-42F2-5B1B9392C79D}"/>
              </a:ext>
            </a:extLst>
          </p:cNvPr>
          <p:cNvCxnSpPr>
            <a:stCxn id="124" idx="2"/>
            <a:endCxn id="106" idx="0"/>
          </p:cNvCxnSpPr>
          <p:nvPr/>
        </p:nvCxnSpPr>
        <p:spPr>
          <a:xfrm>
            <a:off x="9965713" y="5347757"/>
            <a:ext cx="9555" cy="1161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FFF67000-82EB-F3C2-ADB7-21CDE14492C5}"/>
              </a:ext>
            </a:extLst>
          </p:cNvPr>
          <p:cNvCxnSpPr>
            <a:stCxn id="106" idx="2"/>
            <a:endCxn id="108" idx="0"/>
          </p:cNvCxnSpPr>
          <p:nvPr/>
        </p:nvCxnSpPr>
        <p:spPr>
          <a:xfrm>
            <a:off x="9975268" y="5825862"/>
            <a:ext cx="3349" cy="773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03513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649</TotalTime>
  <Words>1442</Words>
  <Application>Microsoft Office PowerPoint</Application>
  <PresentationFormat>Widescreen</PresentationFormat>
  <Paragraphs>322</Paragraphs>
  <Slides>21</Slides>
  <Notes>2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8" baseType="lpstr">
      <vt:lpstr>arial</vt:lpstr>
      <vt:lpstr>arial</vt:lpstr>
      <vt:lpstr>Calibri</vt:lpstr>
      <vt:lpstr>Calibri Light</vt:lpstr>
      <vt:lpstr>Cambria Math</vt:lpstr>
      <vt:lpstr>Office Theme</vt:lpstr>
      <vt:lpstr>think-cell Slide</vt:lpstr>
      <vt:lpstr>ANL488 Presentation</vt:lpstr>
      <vt:lpstr>Introduction</vt:lpstr>
      <vt:lpstr>Previous Studies</vt:lpstr>
      <vt:lpstr>Data</vt:lpstr>
      <vt:lpstr>Pre-Modelling Data Preparation</vt:lpstr>
      <vt:lpstr>Modelling</vt:lpstr>
      <vt:lpstr>Traditional Method Selected</vt:lpstr>
      <vt:lpstr>Failure of Traditional Method</vt:lpstr>
      <vt:lpstr>Methods Employed</vt:lpstr>
      <vt:lpstr>Methods Employed</vt:lpstr>
      <vt:lpstr>Training and Visualisation</vt:lpstr>
      <vt:lpstr>Own Implementation of Traditional Method</vt:lpstr>
      <vt:lpstr>KMeans</vt:lpstr>
      <vt:lpstr>Self Organizing Map (SOM) + KMeans</vt:lpstr>
      <vt:lpstr>DBSCAN</vt:lpstr>
      <vt:lpstr>Comparison of the unsupervised algorithms to industry standard</vt:lpstr>
      <vt:lpstr>Comparison of the unsupervised algorithms to industry standard</vt:lpstr>
      <vt:lpstr>Comparison between clustering algorithms</vt:lpstr>
      <vt:lpstr>Future Works and Conclusion</vt:lpstr>
      <vt:lpstr>Q&amp;A</vt:lpstr>
      <vt:lpstr>Referen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L488 Presentation</dc:title>
  <cp:lastModifiedBy># TAN WEN XUAN (UC-FT)</cp:lastModifiedBy>
  <cp:revision>32</cp:revision>
  <dcterms:created xsi:type="dcterms:W3CDTF">2022-09-03T09:54:32Z</dcterms:created>
  <dcterms:modified xsi:type="dcterms:W3CDTF">2022-09-20T12:43:19Z</dcterms:modified>
</cp:coreProperties>
</file>